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5" r:id="rId1"/>
  </p:sldMasterIdLst>
  <p:notesMasterIdLst>
    <p:notesMasterId r:id="rId5"/>
  </p:notesMasterIdLst>
  <p:handoutMasterIdLst>
    <p:handoutMasterId r:id="rId6"/>
  </p:handoutMasterIdLst>
  <p:sldIdLst>
    <p:sldId id="267" r:id="rId2"/>
    <p:sldId id="553" r:id="rId3"/>
    <p:sldId id="564" r:id="rId4"/>
  </p:sldIdLst>
  <p:sldSz cx="11912600" cy="67183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chemeClr val="accent2">
            <a:lumOff val="21764"/>
          </a:schemeClr>
        </a:solidFill>
        <a:effectLst/>
        <a:uFillTx/>
        <a:latin typeface="PT Sans Caption"/>
        <a:ea typeface="PT Sans Caption"/>
        <a:cs typeface="PT Sans Caption"/>
        <a:sym typeface="PT Sans Caption"/>
      </a:defRPr>
    </a:lvl1pPr>
    <a:lvl2pPr marL="0" marR="0" indent="0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chemeClr val="accent2">
            <a:lumOff val="21764"/>
          </a:schemeClr>
        </a:solidFill>
        <a:effectLst/>
        <a:uFillTx/>
        <a:latin typeface="PT Sans Caption"/>
        <a:ea typeface="PT Sans Caption"/>
        <a:cs typeface="PT Sans Caption"/>
        <a:sym typeface="PT Sans Caption"/>
      </a:defRPr>
    </a:lvl2pPr>
    <a:lvl3pPr marL="0" marR="0" indent="0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chemeClr val="accent2">
            <a:lumOff val="21764"/>
          </a:schemeClr>
        </a:solidFill>
        <a:effectLst/>
        <a:uFillTx/>
        <a:latin typeface="PT Sans Caption"/>
        <a:ea typeface="PT Sans Caption"/>
        <a:cs typeface="PT Sans Caption"/>
        <a:sym typeface="PT Sans Caption"/>
      </a:defRPr>
    </a:lvl3pPr>
    <a:lvl4pPr marL="0" marR="0" indent="0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chemeClr val="accent2">
            <a:lumOff val="21764"/>
          </a:schemeClr>
        </a:solidFill>
        <a:effectLst/>
        <a:uFillTx/>
        <a:latin typeface="PT Sans Caption"/>
        <a:ea typeface="PT Sans Caption"/>
        <a:cs typeface="PT Sans Caption"/>
        <a:sym typeface="PT Sans Caption"/>
      </a:defRPr>
    </a:lvl4pPr>
    <a:lvl5pPr marL="0" marR="0" indent="0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chemeClr val="accent2">
            <a:lumOff val="21764"/>
          </a:schemeClr>
        </a:solidFill>
        <a:effectLst/>
        <a:uFillTx/>
        <a:latin typeface="PT Sans Caption"/>
        <a:ea typeface="PT Sans Caption"/>
        <a:cs typeface="PT Sans Caption"/>
        <a:sym typeface="PT Sans Caption"/>
      </a:defRPr>
    </a:lvl5pPr>
    <a:lvl6pPr marL="0" marR="0" indent="0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chemeClr val="accent2">
            <a:lumOff val="21764"/>
          </a:schemeClr>
        </a:solidFill>
        <a:effectLst/>
        <a:uFillTx/>
        <a:latin typeface="PT Sans Caption"/>
        <a:ea typeface="PT Sans Caption"/>
        <a:cs typeface="PT Sans Caption"/>
        <a:sym typeface="PT Sans Caption"/>
      </a:defRPr>
    </a:lvl6pPr>
    <a:lvl7pPr marL="0" marR="0" indent="0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chemeClr val="accent2">
            <a:lumOff val="21764"/>
          </a:schemeClr>
        </a:solidFill>
        <a:effectLst/>
        <a:uFillTx/>
        <a:latin typeface="PT Sans Caption"/>
        <a:ea typeface="PT Sans Caption"/>
        <a:cs typeface="PT Sans Caption"/>
        <a:sym typeface="PT Sans Caption"/>
      </a:defRPr>
    </a:lvl7pPr>
    <a:lvl8pPr marL="0" marR="0" indent="0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chemeClr val="accent2">
            <a:lumOff val="21764"/>
          </a:schemeClr>
        </a:solidFill>
        <a:effectLst/>
        <a:uFillTx/>
        <a:latin typeface="PT Sans Caption"/>
        <a:ea typeface="PT Sans Caption"/>
        <a:cs typeface="PT Sans Caption"/>
        <a:sym typeface="PT Sans Caption"/>
      </a:defRPr>
    </a:lvl8pPr>
    <a:lvl9pPr marL="0" marR="0" indent="0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chemeClr val="accent2">
            <a:lumOff val="21764"/>
          </a:schemeClr>
        </a:solidFill>
        <a:effectLst/>
        <a:uFillTx/>
        <a:latin typeface="PT Sans Caption"/>
        <a:ea typeface="PT Sans Caption"/>
        <a:cs typeface="PT Sans Caption"/>
        <a:sym typeface="PT Sans Caption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07D523E-2527-4995-8D38-FA7D94DBFAA6}">
          <p14:sldIdLst>
            <p14:sldId id="267"/>
            <p14:sldId id="553"/>
            <p14:sldId id="564"/>
          </p14:sldIdLst>
        </p14:section>
        <p14:section name="Раздел по умолчанию" id="{C22F2FF5-B6D6-483D-8A77-4E7E7A42B07F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ушл Мария" initials="ДМ" lastIdx="1" clrIdx="0">
    <p:extLst>
      <p:ext uri="{19B8F6BF-5375-455C-9EA6-DF929625EA0E}">
        <p15:presenceInfo xmlns:p15="http://schemas.microsoft.com/office/powerpoint/2012/main" userId="Душл Мария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PT Sans Caption"/>
          <a:ea typeface="PT Sans Caption"/>
          <a:cs typeface="PT Sans Caption"/>
        </a:font>
        <a:schemeClr val="accent2">
          <a:lumOff val="21764"/>
        </a:schemeClr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FE2CD"/>
          </a:solidFill>
        </a:fill>
      </a:tcStyle>
    </a:wholeTbl>
    <a:band2H>
      <a:tcTxStyle/>
      <a:tcStyle>
        <a:tcBdr/>
        <a:fill>
          <a:solidFill>
            <a:srgbClr val="FFF1E8"/>
          </a:solidFill>
        </a:fill>
      </a:tcStyle>
    </a:band2H>
    <a:firstCol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PT Sans Caption"/>
          <a:ea typeface="PT Sans Caption"/>
          <a:cs typeface="PT Sans Caption"/>
        </a:font>
        <a:schemeClr val="accent2">
          <a:lumOff val="21764"/>
        </a:schemeClr>
      </a:tcTxStyle>
      <a:tcStyle>
        <a:tcBdr>
          <a:left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ff" i="off">
        <a:font>
          <a:latin typeface="PT Sans Caption"/>
          <a:ea typeface="PT Sans Caption"/>
          <a:cs typeface="PT Sans Caption"/>
        </a:font>
        <a:schemeClr val="accent2">
          <a:lumOff val="21764"/>
        </a:schemeClr>
      </a:tcTxStyle>
      <a:tcStyle>
        <a:tcBdr>
          <a:left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insideV>
        </a:tcBdr>
        <a:fill>
          <a:noFill/>
        </a:fill>
      </a:tcStyle>
    </a:firstCol>
    <a:lastRow>
      <a:tcTxStyle b="off" i="off">
        <a:font>
          <a:latin typeface="PT Sans Caption"/>
          <a:ea typeface="PT Sans Caption"/>
          <a:cs typeface="PT Sans Caption"/>
        </a:font>
        <a:schemeClr val="accent2">
          <a:lumOff val="21764"/>
        </a:schemeClr>
      </a:tcTxStyle>
      <a:tcStyle>
        <a:tcBdr>
          <a:left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ff" i="off">
        <a:font>
          <a:latin typeface="PT Sans Caption"/>
          <a:ea typeface="PT Sans Caption"/>
          <a:cs typeface="PT Sans Caption"/>
        </a:font>
        <a:schemeClr val="accent2">
          <a:lumOff val="21764"/>
        </a:schemeClr>
      </a:tcTxStyle>
      <a:tcStyle>
        <a:tcBdr>
          <a:left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left>
          <a:right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right>
          <a:top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top>
          <a:bottom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bottom>
          <a:insideH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insideH>
          <a:insideV>
            <a:ln w="127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EEE7283C-3CF3-47DC-8721-378D4A62B228}" styleName="">
    <a:tblBg/>
    <a:wholeTbl>
      <a:tcTxStyle b="off" i="off">
        <a:font>
          <a:latin typeface="PT Sans Caption"/>
          <a:ea typeface="PT Sans Caption"/>
          <a:cs typeface="PT Sans Caption"/>
        </a:font>
        <a:schemeClr val="accent2">
          <a:lumOff val="21764"/>
        </a:schemeClr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5DBDE"/>
          </a:solidFill>
        </a:fill>
      </a:tcStyle>
    </a:wholeTbl>
    <a:band2H>
      <a:tcTxStyle/>
      <a:tcStyle>
        <a:tcBdr/>
        <a:fill>
          <a:solidFill>
            <a:srgbClr val="EBEEEF"/>
          </a:solidFill>
        </a:fill>
      </a:tcStyle>
    </a:band2H>
    <a:firstCol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PT Sans Caption"/>
          <a:ea typeface="PT Sans Caption"/>
          <a:cs typeface="PT Sans Caption"/>
        </a:font>
        <a:schemeClr val="accent2">
          <a:lumOff val="21764"/>
        </a:schemeClr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8FFCD"/>
          </a:solidFill>
        </a:fill>
      </a:tcStyle>
    </a:wholeTbl>
    <a:band2H>
      <a:tcTxStyle/>
      <a:tcStyle>
        <a:tcBdr/>
        <a:fill>
          <a:solidFill>
            <a:srgbClr val="FCFFE8"/>
          </a:solidFill>
        </a:fill>
      </a:tcStyle>
    </a:band2H>
    <a:firstCol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PT Sans Caption"/>
          <a:ea typeface="PT Sans Caption"/>
          <a:cs typeface="PT Sans Caption"/>
        </a:font>
        <a:schemeClr val="accent2">
          <a:lumOff val="21764"/>
        </a:schemeClr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9E9E9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PT Sans Caption"/>
          <a:ea typeface="PT Sans Caption"/>
          <a:cs typeface="PT Sans Caption"/>
        </a:font>
        <a:schemeClr val="accent2">
          <a:lumOff val="21764"/>
        </a:schemeClr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top>
          <a:bottom>
            <a:ln w="254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top>
          <a:bottom>
            <a:ln w="25400" cap="flat">
              <a:solidFill>
                <a:schemeClr val="accent2">
                  <a:lumOff val="21764"/>
                </a:schemeClr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PT Sans Caption"/>
          <a:ea typeface="PT Sans Caption"/>
          <a:cs typeface="PT Sans Caption"/>
        </a:font>
        <a:schemeClr val="accent2">
          <a:lumOff val="21764"/>
        </a:schemeClr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0D0D0"/>
          </a:solidFill>
        </a:fill>
      </a:tcStyle>
    </a:wholeTbl>
    <a:band2H>
      <a:tcTxStyle/>
      <a:tcStyle>
        <a:tcBdr/>
        <a:fill>
          <a:solidFill>
            <a:srgbClr val="E9E9E9"/>
          </a:solidFill>
        </a:fill>
      </a:tcStyle>
    </a:band2H>
    <a:firstCol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2">
              <a:lumOff val="21764"/>
            </a:schemeClr>
          </a:solidFill>
        </a:fill>
      </a:tcStyle>
    </a:firstCol>
    <a:la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2">
              <a:lumOff val="21764"/>
            </a:schemeClr>
          </a:solidFill>
        </a:fill>
      </a:tcStyle>
    </a:lastRow>
    <a:fir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2">
              <a:lumOff val="21764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69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8" d="100"/>
          <a:sy n="58" d="100"/>
        </p:scale>
        <p:origin x="3024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D7F90DB-2776-4E35-B6F3-391A854C1EB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6FB468-252B-4369-9D7A-7BF05EFBA8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F25A1C-AFC6-40DA-B42A-558FB2E32C60}" type="datetimeFigureOut">
              <a:rPr lang="ru-RU" smtClean="0"/>
              <a:t>04.04.2019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5F66B6-61D3-49B3-8471-FD536E8BE8C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779ED9-38F5-46AF-95F7-094A8F0AA29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930C1C-7BBB-4E06-A8DD-A0188BE345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28695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" name="Shape 1525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526" name="Shape 152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1193566" latinLnBrk="0">
      <a:defRPr sz="1600">
        <a:latin typeface="+mn-lt"/>
        <a:ea typeface="+mn-ea"/>
        <a:cs typeface="+mn-cs"/>
        <a:sym typeface="Calibri"/>
      </a:defRPr>
    </a:lvl1pPr>
    <a:lvl2pPr indent="228600" defTabSz="1193566" latinLnBrk="0">
      <a:defRPr sz="1600">
        <a:latin typeface="+mn-lt"/>
        <a:ea typeface="+mn-ea"/>
        <a:cs typeface="+mn-cs"/>
        <a:sym typeface="Calibri"/>
      </a:defRPr>
    </a:lvl2pPr>
    <a:lvl3pPr indent="457200" defTabSz="1193566" latinLnBrk="0">
      <a:defRPr sz="1600">
        <a:latin typeface="+mn-lt"/>
        <a:ea typeface="+mn-ea"/>
        <a:cs typeface="+mn-cs"/>
        <a:sym typeface="Calibri"/>
      </a:defRPr>
    </a:lvl3pPr>
    <a:lvl4pPr indent="685800" defTabSz="1193566" latinLnBrk="0">
      <a:defRPr sz="1600">
        <a:latin typeface="+mn-lt"/>
        <a:ea typeface="+mn-ea"/>
        <a:cs typeface="+mn-cs"/>
        <a:sym typeface="Calibri"/>
      </a:defRPr>
    </a:lvl4pPr>
    <a:lvl5pPr indent="914400" defTabSz="1193566" latinLnBrk="0">
      <a:defRPr sz="1600">
        <a:latin typeface="+mn-lt"/>
        <a:ea typeface="+mn-ea"/>
        <a:cs typeface="+mn-cs"/>
        <a:sym typeface="Calibri"/>
      </a:defRPr>
    </a:lvl5pPr>
    <a:lvl6pPr indent="1143000" defTabSz="1193566" latinLnBrk="0">
      <a:defRPr sz="1600">
        <a:latin typeface="+mn-lt"/>
        <a:ea typeface="+mn-ea"/>
        <a:cs typeface="+mn-cs"/>
        <a:sym typeface="Calibri"/>
      </a:defRPr>
    </a:lvl6pPr>
    <a:lvl7pPr indent="1371600" defTabSz="1193566" latinLnBrk="0">
      <a:defRPr sz="1600">
        <a:latin typeface="+mn-lt"/>
        <a:ea typeface="+mn-ea"/>
        <a:cs typeface="+mn-cs"/>
        <a:sym typeface="Calibri"/>
      </a:defRPr>
    </a:lvl7pPr>
    <a:lvl8pPr indent="1600200" defTabSz="1193566" latinLnBrk="0">
      <a:defRPr sz="1600">
        <a:latin typeface="+mn-lt"/>
        <a:ea typeface="+mn-ea"/>
        <a:cs typeface="+mn-cs"/>
        <a:sym typeface="Calibri"/>
      </a:defRPr>
    </a:lvl8pPr>
    <a:lvl9pPr indent="1828800" defTabSz="1193566" latinLnBrk="0">
      <a:defRPr sz="16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8938" y="685800"/>
            <a:ext cx="60801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2313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8938" y="685800"/>
            <a:ext cx="60801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0129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" descr="Picture 1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" y="0"/>
            <a:ext cx="11910391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Rectangle 13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12700">
            <a:miter lim="400000"/>
          </a:ln>
        </p:spPr>
        <p:txBody>
          <a:bodyPr lIns="45600" rIns="45600" anchor="ctr"/>
          <a:lstStyle/>
          <a:p>
            <a:pPr algn="ctr">
              <a:defRPr sz="2200">
                <a:solidFill>
                  <a:srgbClr val="FFFFFF"/>
                </a:solidFill>
              </a:defRPr>
            </a:pPr>
            <a:endParaRPr sz="2195"/>
          </a:p>
        </p:txBody>
      </p:sp>
      <p:pic>
        <p:nvPicPr>
          <p:cNvPr id="15" name="Shape 54" descr="Shape 5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33497" y="4957431"/>
            <a:ext cx="3923261" cy="12812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Shape 56" descr="Shape 56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01258" y="550596"/>
            <a:ext cx="1315863" cy="2541665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821664" y="1993159"/>
            <a:ext cx="5567578" cy="1366089"/>
          </a:xfrm>
          <a:prstGeom prst="rect">
            <a:avLst/>
          </a:prstGeom>
        </p:spPr>
        <p:txBody>
          <a:bodyPr anchor="t"/>
          <a:lstStyle>
            <a:lvl1pPr>
              <a:defRPr sz="3491" b="1"/>
            </a:lvl1pPr>
          </a:lstStyle>
          <a:p>
            <a:r>
              <a:t>Текст заголовка</a:t>
            </a:r>
          </a:p>
        </p:txBody>
      </p:sp>
      <p:sp>
        <p:nvSpPr>
          <p:cNvPr id="1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257482" y="6088594"/>
            <a:ext cx="279883" cy="276549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1190491">
              <a:defRPr sz="1197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272555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Freeform 14"/>
          <p:cNvSpPr/>
          <p:nvPr/>
        </p:nvSpPr>
        <p:spPr>
          <a:xfrm>
            <a:off x="1489" y="1284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1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2707895"/>
            <a:ext cx="2421838" cy="1287539"/>
          </a:xfrm>
          <a:prstGeom prst="rect">
            <a:avLst/>
          </a:prstGeom>
        </p:spPr>
        <p:txBody>
          <a:bodyPr/>
          <a:lstStyle>
            <a:lvl1pPr>
              <a:defRPr sz="3092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117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3060656" y="3517261"/>
            <a:ext cx="1333898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9065"/>
                </a:lnTo>
                <a:lnTo>
                  <a:pt x="14389" y="0"/>
                </a:lnTo>
                <a:lnTo>
                  <a:pt x="0" y="0"/>
                </a:lnTo>
                <a:close/>
                <a:moveTo>
                  <a:pt x="14550" y="0"/>
                </a:moveTo>
                <a:lnTo>
                  <a:pt x="2057" y="20865"/>
                </a:lnTo>
                <a:lnTo>
                  <a:pt x="0" y="20845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50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118" name="Picture 10" descr="Picture 10"/>
          <p:cNvPicPr>
            <a:picLocks noChangeAspect="1"/>
          </p:cNvPicPr>
          <p:nvPr/>
        </p:nvPicPr>
        <p:blipFill>
          <a:blip r:embed="rId3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96985529"/>
      </p:ext>
    </p:extLst>
  </p:cSld>
  <p:clrMapOvr>
    <a:masterClrMapping/>
  </p:clrMapOvr>
  <p:transition spd="med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9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rot="10800000" flipH="1">
            <a:off x="7001395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1140" name="Rectangle 13"/>
          <p:cNvSpPr/>
          <p:nvPr/>
        </p:nvSpPr>
        <p:spPr>
          <a:xfrm>
            <a:off x="0" y="0"/>
            <a:ext cx="7007598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1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4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4" y="610114"/>
            <a:ext cx="6132692" cy="325629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84660948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Four column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9" name="Picture 15" descr="Picture 15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rot="10800000" flipH="1">
            <a:off x="8822326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1150" name="Rectangle 9"/>
          <p:cNvSpPr/>
          <p:nvPr/>
        </p:nvSpPr>
        <p:spPr>
          <a:xfrm>
            <a:off x="0" y="0"/>
            <a:ext cx="8827239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15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5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610114"/>
            <a:ext cx="7915925" cy="325629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46165150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9" name="Picture 22" descr="Picture 22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3586939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116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4" y="2626488"/>
            <a:ext cx="3056201" cy="1465325"/>
          </a:xfrm>
          <a:prstGeom prst="rect">
            <a:avLst/>
          </a:prstGeom>
        </p:spPr>
        <p:txBody>
          <a:bodyPr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61" name="Rectangle 25"/>
          <p:cNvSpPr/>
          <p:nvPr/>
        </p:nvSpPr>
        <p:spPr>
          <a:xfrm>
            <a:off x="3987247" y="-1283"/>
            <a:ext cx="7925355" cy="671958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16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81371779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9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5559196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1170" name="Rectangle 10"/>
          <p:cNvSpPr/>
          <p:nvPr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171" name="Picture Placeholder 18"/>
          <p:cNvSpPr>
            <a:spLocks noGrp="1"/>
          </p:cNvSpPr>
          <p:nvPr>
            <p:ph type="pic" idx="13"/>
          </p:nvPr>
        </p:nvSpPr>
        <p:spPr>
          <a:xfrm>
            <a:off x="5952414" y="0"/>
            <a:ext cx="5960186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17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1749226"/>
            <a:ext cx="4287834" cy="3219849"/>
          </a:xfrm>
          <a:prstGeom prst="rect">
            <a:avLst/>
          </a:prstGeom>
        </p:spPr>
        <p:txBody>
          <a:bodyPr/>
          <a:lstStyle>
            <a:lvl1pPr>
              <a:defRPr sz="4189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7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75715559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0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7240041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1181" name="Rectangle 10"/>
          <p:cNvSpPr/>
          <p:nvPr/>
        </p:nvSpPr>
        <p:spPr>
          <a:xfrm>
            <a:off x="7640346" y="0"/>
            <a:ext cx="4272256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182" name="Picture Placeholder 5"/>
          <p:cNvSpPr>
            <a:spLocks noGrp="1"/>
          </p:cNvSpPr>
          <p:nvPr>
            <p:ph type="pic" sz="half" idx="13"/>
          </p:nvPr>
        </p:nvSpPr>
        <p:spPr>
          <a:xfrm>
            <a:off x="7640817" y="0"/>
            <a:ext cx="4271785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18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6477" y="1749226"/>
            <a:ext cx="6104379" cy="3219849"/>
          </a:xfrm>
          <a:prstGeom prst="rect">
            <a:avLst/>
          </a:prstGeom>
        </p:spPr>
        <p:txBody>
          <a:bodyPr/>
          <a:lstStyle>
            <a:lvl1pPr>
              <a:defRPr sz="4189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8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91583504"/>
      </p:ext>
    </p:extLst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" name="Freeform 14"/>
          <p:cNvSpPr/>
          <p:nvPr/>
        </p:nvSpPr>
        <p:spPr>
          <a:xfrm>
            <a:off x="1489" y="1284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19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9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2707895"/>
            <a:ext cx="2421838" cy="1287539"/>
          </a:xfrm>
          <a:prstGeom prst="rect">
            <a:avLst/>
          </a:prstGeom>
        </p:spPr>
        <p:txBody>
          <a:bodyPr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1194" name="Picture 11" descr="Picture 11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3060656" y="3517261"/>
            <a:ext cx="1333898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9065"/>
                </a:lnTo>
                <a:lnTo>
                  <a:pt x="14389" y="0"/>
                </a:lnTo>
                <a:lnTo>
                  <a:pt x="0" y="0"/>
                </a:lnTo>
                <a:close/>
                <a:moveTo>
                  <a:pt x="14550" y="0"/>
                </a:moveTo>
                <a:lnTo>
                  <a:pt x="2057" y="20865"/>
                </a:lnTo>
                <a:lnTo>
                  <a:pt x="0" y="20845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5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1736669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1" name="Freeform 14"/>
          <p:cNvSpPr/>
          <p:nvPr/>
        </p:nvSpPr>
        <p:spPr>
          <a:xfrm>
            <a:off x="1489" y="1284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20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2707895"/>
            <a:ext cx="2421838" cy="1287539"/>
          </a:xfrm>
          <a:prstGeom prst="rect">
            <a:avLst/>
          </a:prstGeom>
        </p:spPr>
        <p:txBody>
          <a:bodyPr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0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204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6216" r="1" b="7714"/>
          <a:stretch>
            <a:fillRect/>
          </a:stretch>
        </p:blipFill>
        <p:spPr>
          <a:xfrm rot="120000">
            <a:off x="2124805" y="3333511"/>
            <a:ext cx="2632870" cy="33912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214" y="21600"/>
                </a:lnTo>
                <a:lnTo>
                  <a:pt x="14808" y="78"/>
                </a:lnTo>
                <a:lnTo>
                  <a:pt x="15186" y="38"/>
                </a:lnTo>
                <a:lnTo>
                  <a:pt x="13402" y="21524"/>
                </a:lnTo>
                <a:lnTo>
                  <a:pt x="1062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4656693"/>
      </p:ext>
    </p:extLst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12" name="Pentagon 3"/>
          <p:cNvSpPr/>
          <p:nvPr/>
        </p:nvSpPr>
        <p:spPr>
          <a:xfrm>
            <a:off x="0" y="0"/>
            <a:ext cx="5302555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21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1749226"/>
            <a:ext cx="3969142" cy="3219849"/>
          </a:xfrm>
          <a:prstGeom prst="rect">
            <a:avLst/>
          </a:prstGeom>
        </p:spPr>
        <p:txBody>
          <a:bodyPr/>
          <a:lstStyle>
            <a:lvl1pPr>
              <a:defRPr sz="4189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1214" name="Picture 10" descr="Picture 10"/>
          <p:cNvPicPr>
            <a:picLocks noChangeAspect="1"/>
          </p:cNvPicPr>
          <p:nvPr/>
        </p:nvPicPr>
        <p:blipFill>
          <a:blip r:embed="rId2">
            <a:extLst/>
          </a:blip>
          <a:srcRect/>
          <a:stretch>
            <a:fillRect/>
          </a:stretch>
        </p:blipFill>
        <p:spPr>
          <a:xfrm>
            <a:off x="4476532" y="3325247"/>
            <a:ext cx="1268810" cy="34991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5980"/>
                </a:lnTo>
                <a:lnTo>
                  <a:pt x="13992" y="132"/>
                </a:lnTo>
                <a:lnTo>
                  <a:pt x="2324" y="20963"/>
                </a:lnTo>
                <a:lnTo>
                  <a:pt x="0" y="20958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88836213"/>
      </p:ext>
    </p:extLst>
  </p:cSld>
  <p:clrMapOvr>
    <a:masterClrMapping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1" name="Pentagon 3"/>
          <p:cNvSpPr/>
          <p:nvPr/>
        </p:nvSpPr>
        <p:spPr>
          <a:xfrm>
            <a:off x="0" y="0"/>
            <a:ext cx="5302555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22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1749226"/>
            <a:ext cx="3969142" cy="3219849"/>
          </a:xfrm>
          <a:prstGeom prst="rect">
            <a:avLst/>
          </a:prstGeom>
        </p:spPr>
        <p:txBody>
          <a:bodyPr/>
          <a:lstStyle>
            <a:lvl1pPr>
              <a:defRPr sz="4189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224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7562" r="1" b="6870"/>
          <a:stretch>
            <a:fillRect/>
          </a:stretch>
        </p:blipFill>
        <p:spPr>
          <a:xfrm>
            <a:off x="3496063" y="3346709"/>
            <a:ext cx="2632869" cy="33714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72" y="21600"/>
                </a:lnTo>
                <a:lnTo>
                  <a:pt x="14271" y="2278"/>
                </a:lnTo>
                <a:lnTo>
                  <a:pt x="14248" y="2276"/>
                </a:lnTo>
                <a:lnTo>
                  <a:pt x="14821" y="79"/>
                </a:lnTo>
                <a:lnTo>
                  <a:pt x="14798" y="0"/>
                </a:lnTo>
                <a:lnTo>
                  <a:pt x="0" y="0"/>
                </a:lnTo>
                <a:close/>
                <a:moveTo>
                  <a:pt x="16355" y="0"/>
                </a:moveTo>
                <a:lnTo>
                  <a:pt x="16215" y="2382"/>
                </a:lnTo>
                <a:lnTo>
                  <a:pt x="14564" y="2293"/>
                </a:lnTo>
                <a:lnTo>
                  <a:pt x="12109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355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18018384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" name="Pentagon 8"/>
          <p:cNvSpPr/>
          <p:nvPr/>
        </p:nvSpPr>
        <p:spPr>
          <a:xfrm>
            <a:off x="0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23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610114"/>
            <a:ext cx="4639019" cy="325629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3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234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5274106" y="3516484"/>
            <a:ext cx="1333898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454"/>
                </a:lnTo>
                <a:lnTo>
                  <a:pt x="14370" y="0"/>
                </a:lnTo>
                <a:lnTo>
                  <a:pt x="0" y="0"/>
                </a:lnTo>
                <a:close/>
                <a:moveTo>
                  <a:pt x="14563" y="0"/>
                </a:moveTo>
                <a:lnTo>
                  <a:pt x="2005" y="21204"/>
                </a:lnTo>
                <a:lnTo>
                  <a:pt x="0" y="21204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63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11143746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Freeform 14"/>
          <p:cNvSpPr/>
          <p:nvPr/>
        </p:nvSpPr>
        <p:spPr>
          <a:xfrm>
            <a:off x="0" y="1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6E6F73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2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2707895"/>
            <a:ext cx="2421838" cy="1287539"/>
          </a:xfrm>
          <a:prstGeom prst="rect">
            <a:avLst/>
          </a:prstGeom>
        </p:spPr>
        <p:txBody>
          <a:bodyPr/>
          <a:lstStyle>
            <a:lvl1pPr>
              <a:defRPr sz="3092"/>
            </a:lvl1pPr>
          </a:lstStyle>
          <a:p>
            <a:r>
              <a:t>Текст заголовка</a:t>
            </a:r>
          </a:p>
        </p:txBody>
      </p:sp>
      <p:sp>
        <p:nvSpPr>
          <p:cNvPr id="12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28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6216" r="1" b="7714"/>
          <a:stretch>
            <a:fillRect/>
          </a:stretch>
        </p:blipFill>
        <p:spPr>
          <a:xfrm rot="120000">
            <a:off x="2124805" y="3333511"/>
            <a:ext cx="2632870" cy="33912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214" y="21600"/>
                </a:lnTo>
                <a:lnTo>
                  <a:pt x="14808" y="78"/>
                </a:lnTo>
                <a:lnTo>
                  <a:pt x="15186" y="38"/>
                </a:lnTo>
                <a:lnTo>
                  <a:pt x="13402" y="21524"/>
                </a:lnTo>
                <a:lnTo>
                  <a:pt x="1062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129" name="Picture 9" descr="Picture 9"/>
          <p:cNvPicPr>
            <a:picLocks noChangeAspect="1"/>
          </p:cNvPicPr>
          <p:nvPr/>
        </p:nvPicPr>
        <p:blipFill>
          <a:blip r:embed="rId3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28997723"/>
      </p:ext>
    </p:extLst>
  </p:cSld>
  <p:clrMapOvr>
    <a:masterClrMapping/>
  </p:clrMapOvr>
  <p:transition spd="med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1" name="Pentagon 8"/>
          <p:cNvSpPr/>
          <p:nvPr/>
        </p:nvSpPr>
        <p:spPr>
          <a:xfrm>
            <a:off x="0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24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610114"/>
            <a:ext cx="4639019" cy="325629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4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244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t="9052" r="1" b="6867"/>
          <a:stretch>
            <a:fillRect/>
          </a:stretch>
        </p:blipFill>
        <p:spPr>
          <a:xfrm rot="120000">
            <a:off x="4357961" y="3338384"/>
            <a:ext cx="2632869" cy="33861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59" y="21600"/>
                </a:lnTo>
                <a:lnTo>
                  <a:pt x="14762" y="0"/>
                </a:lnTo>
                <a:lnTo>
                  <a:pt x="0" y="0"/>
                </a:lnTo>
                <a:close/>
                <a:moveTo>
                  <a:pt x="17126" y="0"/>
                </a:moveTo>
                <a:lnTo>
                  <a:pt x="15349" y="2663"/>
                </a:lnTo>
                <a:lnTo>
                  <a:pt x="14883" y="2704"/>
                </a:lnTo>
                <a:lnTo>
                  <a:pt x="1568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7126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99140240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Freeform 18"/>
          <p:cNvSpPr/>
          <p:nvPr/>
        </p:nvSpPr>
        <p:spPr>
          <a:xfrm>
            <a:off x="0" y="1"/>
            <a:ext cx="8252680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25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5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610114"/>
            <a:ext cx="6111166" cy="325629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1254" name="Picture 10" descr="Picture 10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7318685" y="3516484"/>
            <a:ext cx="1333897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2026"/>
                </a:lnTo>
                <a:lnTo>
                  <a:pt x="13490" y="0"/>
                </a:lnTo>
                <a:lnTo>
                  <a:pt x="0" y="0"/>
                </a:lnTo>
                <a:close/>
                <a:moveTo>
                  <a:pt x="14087" y="0"/>
                </a:moveTo>
                <a:lnTo>
                  <a:pt x="13772" y="548"/>
                </a:lnTo>
                <a:lnTo>
                  <a:pt x="14203" y="0"/>
                </a:lnTo>
                <a:lnTo>
                  <a:pt x="14087" y="0"/>
                </a:lnTo>
                <a:close/>
                <a:moveTo>
                  <a:pt x="14421" y="0"/>
                </a:moveTo>
                <a:lnTo>
                  <a:pt x="2050" y="21507"/>
                </a:lnTo>
                <a:lnTo>
                  <a:pt x="1761" y="21507"/>
                </a:lnTo>
                <a:lnTo>
                  <a:pt x="1709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421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40462183"/>
      </p:ext>
    </p:extLst>
  </p:cSld>
  <p:clrMapOvr>
    <a:masterClrMapping/>
  </p:clrMapOvr>
  <p:transition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1" name="Freeform 18"/>
          <p:cNvSpPr/>
          <p:nvPr/>
        </p:nvSpPr>
        <p:spPr>
          <a:xfrm>
            <a:off x="0" y="1"/>
            <a:ext cx="8252680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26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610114"/>
            <a:ext cx="6111166" cy="325629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6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264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9052" r="1" b="6867"/>
          <a:stretch>
            <a:fillRect/>
          </a:stretch>
        </p:blipFill>
        <p:spPr>
          <a:xfrm rot="120000">
            <a:off x="6417121" y="3338384"/>
            <a:ext cx="2632869" cy="33861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30" y="21600"/>
                </a:lnTo>
                <a:lnTo>
                  <a:pt x="14632" y="0"/>
                </a:lnTo>
                <a:lnTo>
                  <a:pt x="0" y="0"/>
                </a:lnTo>
                <a:close/>
                <a:moveTo>
                  <a:pt x="16579" y="0"/>
                </a:moveTo>
                <a:lnTo>
                  <a:pt x="11503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579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45949703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Big statement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7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3748390"/>
            <a:ext cx="10682649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785"/>
              </a:lnSpc>
              <a:defRPr sz="5186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64511137"/>
      </p:ext>
    </p:extLst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280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281" name="Rectangle 5"/>
          <p:cNvSpPr/>
          <p:nvPr/>
        </p:nvSpPr>
        <p:spPr>
          <a:xfrm>
            <a:off x="615561" y="612734"/>
            <a:ext cx="911316" cy="913690"/>
          </a:xfrm>
          <a:prstGeom prst="rect">
            <a:avLst/>
          </a:prstGeom>
          <a:ln w="10795">
            <a:solidFill>
              <a:srgbClr val="888888"/>
            </a:solidFill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28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3748390"/>
            <a:ext cx="10682649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785"/>
              </a:lnSpc>
              <a:defRPr sz="5186">
                <a:solidFill>
                  <a:srgbClr val="888888"/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67331344"/>
      </p:ext>
    </p:extLst>
  </p:cSld>
  <p:clrMapOvr>
    <a:masterClrMapping/>
  </p:clrMapOvr>
  <p:transition spd="med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Quote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290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r="3623" b="1258"/>
          <a:stretch>
            <a:fillRect/>
          </a:stretch>
        </p:blipFill>
        <p:spPr>
          <a:xfrm rot="16200000" flipH="1">
            <a:off x="6640624" y="112217"/>
            <a:ext cx="753666" cy="9790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984"/>
                </a:lnTo>
                <a:lnTo>
                  <a:pt x="6085" y="2155"/>
                </a:lnTo>
                <a:lnTo>
                  <a:pt x="5551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291" name="Freeform 58"/>
          <p:cNvSpPr/>
          <p:nvPr/>
        </p:nvSpPr>
        <p:spPr>
          <a:xfrm flipH="1">
            <a:off x="1" y="0"/>
            <a:ext cx="11912601" cy="57478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18208"/>
                </a:lnTo>
                <a:lnTo>
                  <a:pt x="16019" y="18208"/>
                </a:lnTo>
                <a:lnTo>
                  <a:pt x="17671" y="21600"/>
                </a:lnTo>
                <a:lnTo>
                  <a:pt x="17671" y="18208"/>
                </a:lnTo>
                <a:lnTo>
                  <a:pt x="21600" y="18208"/>
                </a:lnTo>
                <a:close/>
              </a:path>
            </a:pathLst>
          </a:custGeom>
          <a:solidFill>
            <a:srgbClr val="9A9A9A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2200">
                <a:solidFill>
                  <a:srgbClr val="000000"/>
                </a:solidFill>
              </a:defRPr>
            </a:pPr>
            <a:endParaRPr sz="2195"/>
          </a:p>
        </p:txBody>
      </p:sp>
    </p:spTree>
    <p:extLst>
      <p:ext uri="{BB962C8B-B14F-4D97-AF65-F5344CB8AC3E}">
        <p14:creationId xmlns:p14="http://schemas.microsoft.com/office/powerpoint/2010/main" val="3411753045"/>
      </p:ext>
    </p:extLst>
  </p:cSld>
  <p:clrMapOvr>
    <a:masterClrMapping/>
  </p:clrMapOvr>
  <p:transition spd="med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Special gray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9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610114"/>
            <a:ext cx="10682649" cy="325629"/>
          </a:xfrm>
          <a:prstGeom prst="rect">
            <a:avLst/>
          </a:prstGeom>
        </p:spPr>
        <p:txBody>
          <a:bodyPr anchor="t"/>
          <a:lstStyle>
            <a:lvl1pPr>
              <a:defRPr sz="2294"/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20954745"/>
      </p:ext>
    </p:extLst>
  </p:cSld>
  <p:clrMapOvr>
    <a:masterClrMapping/>
  </p:clrMapOvr>
  <p:transition spd="med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6" name="Freeform 12"/>
          <p:cNvSpPr/>
          <p:nvPr/>
        </p:nvSpPr>
        <p:spPr>
          <a:xfrm>
            <a:off x="0" y="1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307" name="Freeform 12"/>
          <p:cNvSpPr/>
          <p:nvPr/>
        </p:nvSpPr>
        <p:spPr>
          <a:xfrm>
            <a:off x="0" y="1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30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5561" y="2525422"/>
            <a:ext cx="2915674" cy="1725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5999"/>
              </a:lnSpc>
              <a:spcBef>
                <a:spcPts val="699"/>
              </a:spcBef>
              <a:buClrTx/>
              <a:buSzTx/>
              <a:buFontTx/>
              <a:buNone/>
              <a:defRPr sz="5186"/>
            </a:lvl1pPr>
            <a:lvl2pPr marL="904873" indent="-796110">
              <a:lnSpc>
                <a:spcPct val="105999"/>
              </a:lnSpc>
              <a:spcBef>
                <a:spcPts val="699"/>
              </a:spcBef>
              <a:buClrTx/>
              <a:buFontTx/>
              <a:defRPr sz="5186"/>
            </a:lvl2pPr>
            <a:lvl3pPr marL="1099755" indent="-762939">
              <a:lnSpc>
                <a:spcPct val="105999"/>
              </a:lnSpc>
              <a:spcBef>
                <a:spcPts val="699"/>
              </a:spcBef>
              <a:buClrTx/>
              <a:buFontTx/>
              <a:defRPr sz="5186"/>
            </a:lvl3pPr>
            <a:lvl4pPr>
              <a:lnSpc>
                <a:spcPct val="105999"/>
              </a:lnSpc>
              <a:spcBef>
                <a:spcPts val="699"/>
              </a:spcBef>
              <a:buClrTx/>
              <a:buFontTx/>
              <a:defRPr sz="5186"/>
            </a:lvl4pPr>
            <a:lvl5pPr>
              <a:lnSpc>
                <a:spcPct val="105999"/>
              </a:lnSpc>
              <a:spcBef>
                <a:spcPts val="699"/>
              </a:spcBef>
              <a:buClrTx/>
              <a:buFontTx/>
              <a:defRPr sz="5186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0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310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3037398" y="3513685"/>
            <a:ext cx="1333898" cy="3313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263"/>
                </a:lnTo>
                <a:lnTo>
                  <a:pt x="14704" y="0"/>
                </a:lnTo>
                <a:lnTo>
                  <a:pt x="0" y="0"/>
                </a:lnTo>
                <a:close/>
                <a:moveTo>
                  <a:pt x="14916" y="0"/>
                </a:moveTo>
                <a:lnTo>
                  <a:pt x="203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916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2110455"/>
      </p:ext>
    </p:extLst>
  </p:cSld>
  <p:clrMapOvr>
    <a:masterClrMapping/>
  </p:clrMapOvr>
  <p:transition spd="med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Blank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27702797"/>
      </p:ext>
    </p:extLst>
  </p:cSld>
  <p:clrMapOvr>
    <a:masterClrMapping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325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46174260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37" name="Pentagon 3"/>
          <p:cNvSpPr/>
          <p:nvPr/>
        </p:nvSpPr>
        <p:spPr>
          <a:xfrm>
            <a:off x="0" y="0"/>
            <a:ext cx="5302555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3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1749226"/>
            <a:ext cx="3969142" cy="3219849"/>
          </a:xfrm>
          <a:prstGeom prst="rect">
            <a:avLst/>
          </a:prstGeom>
        </p:spPr>
        <p:txBody>
          <a:bodyPr/>
          <a:lstStyle>
            <a:lvl1pPr>
              <a:defRPr sz="4189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139" name="Picture 14" descr="Picture 14"/>
          <p:cNvPicPr>
            <a:picLocks noChangeAspect="1"/>
          </p:cNvPicPr>
          <p:nvPr/>
        </p:nvPicPr>
        <p:blipFill>
          <a:blip r:embed="rId2">
            <a:extLst/>
          </a:blip>
          <a:srcRect/>
          <a:stretch>
            <a:fillRect/>
          </a:stretch>
        </p:blipFill>
        <p:spPr>
          <a:xfrm>
            <a:off x="4476532" y="3325247"/>
            <a:ext cx="1268810" cy="34991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5980"/>
                </a:lnTo>
                <a:lnTo>
                  <a:pt x="13992" y="132"/>
                </a:lnTo>
                <a:lnTo>
                  <a:pt x="2324" y="20963"/>
                </a:lnTo>
                <a:lnTo>
                  <a:pt x="0" y="20958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140" name="Picture 10" descr="Picture 10"/>
          <p:cNvPicPr>
            <a:picLocks noChangeAspect="1"/>
          </p:cNvPicPr>
          <p:nvPr/>
        </p:nvPicPr>
        <p:blipFill>
          <a:blip r:embed="rId3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44142709"/>
      </p:ext>
    </p:extLst>
  </p:cSld>
  <p:clrMapOvr>
    <a:masterClrMapping/>
  </p:clrMapOvr>
  <p:transition spd="med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Disclaim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333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79544878"/>
      </p:ext>
    </p:extLst>
  </p:cSld>
  <p:clrMapOvr>
    <a:masterClrMapping/>
  </p:clrMapOvr>
  <p:transition spd="med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0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" y="0"/>
            <a:ext cx="11910391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1341" name="Rectangle 8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12700">
            <a:miter lim="400000"/>
          </a:ln>
        </p:spPr>
        <p:txBody>
          <a:bodyPr lIns="45600" rIns="45600" anchor="ctr"/>
          <a:lstStyle/>
          <a:p>
            <a:pPr algn="ctr">
              <a:defRPr sz="2200">
                <a:solidFill>
                  <a:srgbClr val="FFFFFF"/>
                </a:solidFill>
              </a:defRPr>
            </a:pPr>
            <a:endParaRPr sz="2195"/>
          </a:p>
        </p:txBody>
      </p:sp>
      <p:pic>
        <p:nvPicPr>
          <p:cNvPr id="1342" name="Shape 54" descr="Shape 5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33497" y="4957431"/>
            <a:ext cx="3923261" cy="12812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343" name="Shape 56" descr="Shape 56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01258" y="550596"/>
            <a:ext cx="1315863" cy="2541665"/>
          </a:xfrm>
          <a:prstGeom prst="rect">
            <a:avLst/>
          </a:prstGeom>
          <a:ln w="12700">
            <a:miter lim="400000"/>
          </a:ln>
        </p:spPr>
      </p:pic>
      <p:sp>
        <p:nvSpPr>
          <p:cNvPr id="134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257482" y="6088594"/>
            <a:ext cx="279883" cy="276549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1190491">
              <a:defRPr sz="1197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95267764"/>
      </p:ext>
    </p:extLst>
  </p:cSld>
  <p:clrMapOvr>
    <a:masterClrMapping/>
  </p:clrMapOvr>
  <p:transition spd="med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Layout gu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352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grpSp>
        <p:nvGrpSpPr>
          <p:cNvPr id="1398" name="Group 143"/>
          <p:cNvGrpSpPr/>
          <p:nvPr/>
        </p:nvGrpSpPr>
        <p:grpSpPr>
          <a:xfrm>
            <a:off x="-587" y="-3"/>
            <a:ext cx="11914362" cy="6718304"/>
            <a:chOff x="-1" y="-1"/>
            <a:chExt cx="11914361" cy="6718302"/>
          </a:xfrm>
        </p:grpSpPr>
        <p:sp>
          <p:nvSpPr>
            <p:cNvPr id="1353" name="No fly zone"/>
            <p:cNvSpPr/>
            <p:nvPr/>
          </p:nvSpPr>
          <p:spPr>
            <a:xfrm>
              <a:off x="586" y="-1"/>
              <a:ext cx="11913774" cy="67183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6" y="1962"/>
                  </a:moveTo>
                  <a:lnTo>
                    <a:pt x="1116" y="19403"/>
                  </a:lnTo>
                  <a:lnTo>
                    <a:pt x="20482" y="19403"/>
                  </a:lnTo>
                  <a:lnTo>
                    <a:pt x="20482" y="1962"/>
                  </a:lnTo>
                  <a:close/>
                  <a:moveTo>
                    <a:pt x="0" y="0"/>
                  </a:moveTo>
                  <a:lnTo>
                    <a:pt x="21600" y="0"/>
                  </a:lnTo>
                  <a:lnTo>
                    <a:pt x="21600" y="1962"/>
                  </a:lnTo>
                  <a:lnTo>
                    <a:pt x="21598" y="1962"/>
                  </a:lnTo>
                  <a:lnTo>
                    <a:pt x="21598" y="19403"/>
                  </a:lnTo>
                  <a:lnTo>
                    <a:pt x="21600" y="19403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1962"/>
                  </a:lnTo>
                  <a:lnTo>
                    <a:pt x="0" y="1962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/>
              </a:pPr>
              <a:endParaRPr sz="2195"/>
            </a:p>
          </p:txBody>
        </p:sp>
        <p:grpSp>
          <p:nvGrpSpPr>
            <p:cNvPr id="1374" name="Baselines / anchors"/>
            <p:cNvGrpSpPr/>
            <p:nvPr/>
          </p:nvGrpSpPr>
          <p:grpSpPr>
            <a:xfrm>
              <a:off x="-1" y="610114"/>
              <a:ext cx="11913774" cy="5424014"/>
              <a:chOff x="0" y="0"/>
              <a:chExt cx="11913772" cy="5424013"/>
            </a:xfrm>
          </p:grpSpPr>
          <p:sp>
            <p:nvSpPr>
              <p:cNvPr id="1354" name="Straight Connector 169"/>
              <p:cNvSpPr/>
              <p:nvPr/>
            </p:nvSpPr>
            <p:spPr>
              <a:xfrm>
                <a:off x="0" y="-1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55" name="Straight Connector 170"/>
              <p:cNvSpPr/>
              <p:nvPr/>
            </p:nvSpPr>
            <p:spPr>
              <a:xfrm>
                <a:off x="0" y="285474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56" name="Straight Connector 171"/>
              <p:cNvSpPr/>
              <p:nvPr/>
            </p:nvSpPr>
            <p:spPr>
              <a:xfrm>
                <a:off x="0" y="57094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57" name="Straight Connector 172"/>
              <p:cNvSpPr/>
              <p:nvPr/>
            </p:nvSpPr>
            <p:spPr>
              <a:xfrm>
                <a:off x="0" y="85697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58" name="Straight Connector 173"/>
              <p:cNvSpPr/>
              <p:nvPr/>
            </p:nvSpPr>
            <p:spPr>
              <a:xfrm>
                <a:off x="0" y="114189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59" name="Straight Connector 174"/>
              <p:cNvSpPr/>
              <p:nvPr/>
            </p:nvSpPr>
            <p:spPr>
              <a:xfrm>
                <a:off x="0" y="1427374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60" name="Straight Connector 175"/>
              <p:cNvSpPr/>
              <p:nvPr/>
            </p:nvSpPr>
            <p:spPr>
              <a:xfrm>
                <a:off x="0" y="171284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61" name="Straight Connector 176"/>
              <p:cNvSpPr/>
              <p:nvPr/>
            </p:nvSpPr>
            <p:spPr>
              <a:xfrm>
                <a:off x="0" y="199832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62" name="Straight Connector 177"/>
              <p:cNvSpPr/>
              <p:nvPr/>
            </p:nvSpPr>
            <p:spPr>
              <a:xfrm>
                <a:off x="0" y="228379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63" name="Straight Connector 178"/>
              <p:cNvSpPr/>
              <p:nvPr/>
            </p:nvSpPr>
            <p:spPr>
              <a:xfrm>
                <a:off x="0" y="256927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64" name="Straight Connector 179"/>
              <p:cNvSpPr/>
              <p:nvPr/>
            </p:nvSpPr>
            <p:spPr>
              <a:xfrm>
                <a:off x="0" y="285474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65" name="Straight Connector 180"/>
              <p:cNvSpPr/>
              <p:nvPr/>
            </p:nvSpPr>
            <p:spPr>
              <a:xfrm>
                <a:off x="0" y="314022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66" name="Straight Connector 181"/>
              <p:cNvSpPr/>
              <p:nvPr/>
            </p:nvSpPr>
            <p:spPr>
              <a:xfrm>
                <a:off x="0" y="342569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67" name="Straight Connector 182"/>
              <p:cNvSpPr/>
              <p:nvPr/>
            </p:nvSpPr>
            <p:spPr>
              <a:xfrm>
                <a:off x="0" y="371117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68" name="Straight Connector 183"/>
              <p:cNvSpPr/>
              <p:nvPr/>
            </p:nvSpPr>
            <p:spPr>
              <a:xfrm>
                <a:off x="0" y="399664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69" name="Straight Connector 184"/>
              <p:cNvSpPr/>
              <p:nvPr/>
            </p:nvSpPr>
            <p:spPr>
              <a:xfrm>
                <a:off x="0" y="4282122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70" name="Straight Connector 185"/>
              <p:cNvSpPr/>
              <p:nvPr/>
            </p:nvSpPr>
            <p:spPr>
              <a:xfrm>
                <a:off x="0" y="456759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71" name="Straight Connector 186"/>
              <p:cNvSpPr/>
              <p:nvPr/>
            </p:nvSpPr>
            <p:spPr>
              <a:xfrm>
                <a:off x="0" y="4853072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72" name="Straight Connector 187"/>
              <p:cNvSpPr/>
              <p:nvPr/>
            </p:nvSpPr>
            <p:spPr>
              <a:xfrm>
                <a:off x="0" y="513854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373" name="Straight Connector 188"/>
              <p:cNvSpPr/>
              <p:nvPr/>
            </p:nvSpPr>
            <p:spPr>
              <a:xfrm>
                <a:off x="0" y="542401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</p:grpSp>
        <p:grpSp>
          <p:nvGrpSpPr>
            <p:cNvPr id="1386" name="Gutter space"/>
            <p:cNvGrpSpPr/>
            <p:nvPr/>
          </p:nvGrpSpPr>
          <p:grpSpPr>
            <a:xfrm>
              <a:off x="1248321" y="610849"/>
              <a:ext cx="9417131" cy="5424256"/>
              <a:chOff x="0" y="0"/>
              <a:chExt cx="9417129" cy="5424254"/>
            </a:xfrm>
          </p:grpSpPr>
          <p:sp>
            <p:nvSpPr>
              <p:cNvPr id="1375" name="Rectangle 34"/>
              <p:cNvSpPr/>
              <p:nvPr/>
            </p:nvSpPr>
            <p:spPr>
              <a:xfrm>
                <a:off x="5481437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76" name="Rectangle 35"/>
              <p:cNvSpPr/>
              <p:nvPr/>
            </p:nvSpPr>
            <p:spPr>
              <a:xfrm>
                <a:off x="7308584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77" name="Rectangle 36"/>
              <p:cNvSpPr/>
              <p:nvPr/>
            </p:nvSpPr>
            <p:spPr>
              <a:xfrm>
                <a:off x="6395010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78" name="Rectangle 37"/>
              <p:cNvSpPr/>
              <p:nvPr/>
            </p:nvSpPr>
            <p:spPr>
              <a:xfrm>
                <a:off x="8222157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79" name="Rectangle 38"/>
              <p:cNvSpPr/>
              <p:nvPr/>
            </p:nvSpPr>
            <p:spPr>
              <a:xfrm>
                <a:off x="9135729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80" name="Rectangle 39"/>
              <p:cNvSpPr/>
              <p:nvPr/>
            </p:nvSpPr>
            <p:spPr>
              <a:xfrm>
                <a:off x="4567864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81" name="Rectangle 40"/>
              <p:cNvSpPr/>
              <p:nvPr/>
            </p:nvSpPr>
            <p:spPr>
              <a:xfrm>
                <a:off x="0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82" name="Rectangle 41"/>
              <p:cNvSpPr/>
              <p:nvPr/>
            </p:nvSpPr>
            <p:spPr>
              <a:xfrm>
                <a:off x="913573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83" name="Rectangle 42"/>
              <p:cNvSpPr/>
              <p:nvPr/>
            </p:nvSpPr>
            <p:spPr>
              <a:xfrm>
                <a:off x="1827146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84" name="Rectangle 43"/>
              <p:cNvSpPr/>
              <p:nvPr/>
            </p:nvSpPr>
            <p:spPr>
              <a:xfrm>
                <a:off x="2740718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85" name="Rectangle 44"/>
              <p:cNvSpPr/>
              <p:nvPr/>
            </p:nvSpPr>
            <p:spPr>
              <a:xfrm>
                <a:off x="3654292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</p:grpSp>
        <p:sp>
          <p:nvSpPr>
            <p:cNvPr id="1387" name="Slide edges"/>
            <p:cNvSpPr/>
            <p:nvPr/>
          </p:nvSpPr>
          <p:spPr>
            <a:xfrm>
              <a:off x="-1" y="0"/>
              <a:ext cx="11913774" cy="67183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593" y="21587"/>
                  </a:moveTo>
                  <a:lnTo>
                    <a:pt x="21593" y="21568"/>
                  </a:lnTo>
                  <a:lnTo>
                    <a:pt x="18" y="21568"/>
                  </a:lnTo>
                  <a:lnTo>
                    <a:pt x="18" y="32"/>
                  </a:lnTo>
                  <a:lnTo>
                    <a:pt x="21582" y="32"/>
                  </a:lnTo>
                  <a:lnTo>
                    <a:pt x="21582" y="21587"/>
                  </a:lnTo>
                  <a:lnTo>
                    <a:pt x="21593" y="21587"/>
                  </a:lnTo>
                  <a:lnTo>
                    <a:pt x="21593" y="21568"/>
                  </a:lnTo>
                  <a:lnTo>
                    <a:pt x="21593" y="21587"/>
                  </a:lnTo>
                  <a:lnTo>
                    <a:pt x="21600" y="21587"/>
                  </a:lnTo>
                  <a:lnTo>
                    <a:pt x="2160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21587"/>
                  </a:lnTo>
                  <a:lnTo>
                    <a:pt x="21593" y="21587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891157">
                <a:defRPr sz="1700">
                  <a:solidFill>
                    <a:srgbClr val="575757"/>
                  </a:solidFill>
                </a:defRPr>
              </a:pPr>
              <a:endParaRPr sz="1695"/>
            </a:p>
          </p:txBody>
        </p:sp>
        <p:sp>
          <p:nvSpPr>
            <p:cNvPr id="1388" name="Footnote measure"/>
            <p:cNvSpPr/>
            <p:nvPr/>
          </p:nvSpPr>
          <p:spPr>
            <a:xfrm>
              <a:off x="615562" y="6034127"/>
              <a:ext cx="10682649" cy="37087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>
                  <a:solidFill>
                    <a:srgbClr val="000000"/>
                  </a:solidFill>
                </a:defRPr>
              </a:pPr>
              <a:endParaRPr sz="2195"/>
            </a:p>
          </p:txBody>
        </p:sp>
        <p:sp>
          <p:nvSpPr>
            <p:cNvPr id="1389" name="Whitespace measure"/>
            <p:cNvSpPr/>
            <p:nvPr/>
          </p:nvSpPr>
          <p:spPr>
            <a:xfrm>
              <a:off x="615562" y="1467094"/>
              <a:ext cx="10681700" cy="57132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>
                  <a:solidFill>
                    <a:srgbClr val="000000"/>
                  </a:solidFill>
                </a:defRPr>
              </a:pPr>
              <a:endParaRPr sz="2195"/>
            </a:p>
          </p:txBody>
        </p:sp>
        <p:grpSp>
          <p:nvGrpSpPr>
            <p:cNvPr id="1395" name="Five column measure"/>
            <p:cNvGrpSpPr/>
            <p:nvPr/>
          </p:nvGrpSpPr>
          <p:grpSpPr>
            <a:xfrm>
              <a:off x="615562" y="5853407"/>
              <a:ext cx="10682649" cy="77916"/>
              <a:chOff x="0" y="0"/>
              <a:chExt cx="10682647" cy="77914"/>
            </a:xfrm>
          </p:grpSpPr>
          <p:sp>
            <p:nvSpPr>
              <p:cNvPr id="1390" name="Rectangle 5"/>
              <p:cNvSpPr/>
              <p:nvPr/>
            </p:nvSpPr>
            <p:spPr>
              <a:xfrm>
                <a:off x="2199148" y="0"/>
                <a:ext cx="1886053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91" name="Rectangle 7"/>
              <p:cNvSpPr/>
              <p:nvPr/>
            </p:nvSpPr>
            <p:spPr>
              <a:xfrm>
                <a:off x="8790617" y="0"/>
                <a:ext cx="1892031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92" name="Rectangle 9"/>
              <p:cNvSpPr/>
              <p:nvPr/>
            </p:nvSpPr>
            <p:spPr>
              <a:xfrm>
                <a:off x="6588480" y="0"/>
                <a:ext cx="1892031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93" name="Rectangle 11"/>
              <p:cNvSpPr/>
              <p:nvPr/>
            </p:nvSpPr>
            <p:spPr>
              <a:xfrm>
                <a:off x="4395308" y="0"/>
                <a:ext cx="1883064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394" name="Rectangle 13"/>
              <p:cNvSpPr/>
              <p:nvPr/>
            </p:nvSpPr>
            <p:spPr>
              <a:xfrm>
                <a:off x="-1" y="0"/>
                <a:ext cx="1889042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</p:grpSp>
        <p:sp>
          <p:nvSpPr>
            <p:cNvPr id="1396" name="Live area"/>
            <p:cNvSpPr/>
            <p:nvPr/>
          </p:nvSpPr>
          <p:spPr>
            <a:xfrm>
              <a:off x="615562" y="2038415"/>
              <a:ext cx="10682649" cy="3995714"/>
            </a:xfrm>
            <a:prstGeom prst="rect">
              <a:avLst/>
            </a:prstGeom>
            <a:noFill/>
            <a:ln w="9525" cap="flat">
              <a:solidFill>
                <a:srgbClr val="E71C57">
                  <a:alpha val="35000"/>
                </a:srgbClr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898"/>
                </a:spcBef>
                <a:defRPr sz="1100">
                  <a:solidFill>
                    <a:srgbClr val="FFFFFF"/>
                  </a:solidFill>
                </a:defRPr>
              </a:pPr>
              <a:endParaRPr sz="1097"/>
            </a:p>
          </p:txBody>
        </p:sp>
        <p:sp>
          <p:nvSpPr>
            <p:cNvPr id="1397" name="Footnote example"/>
            <p:cNvSpPr txBox="1"/>
            <p:nvPr/>
          </p:nvSpPr>
          <p:spPr>
            <a:xfrm>
              <a:off x="616148" y="6053135"/>
              <a:ext cx="9569712" cy="3731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b">
              <a:spAutoFit/>
            </a:bodyPr>
            <a:lstStyle/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1. xxxx  2. xxxx  3. xxxx</a:t>
              </a:r>
            </a:p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Note: List footnotes in numerical order. Footnote numbers are not bracketed. Use 10pt font. Do not put a period at the end of the note or the source</a:t>
              </a:r>
              <a:endParaRPr sz="898">
                <a:solidFill>
                  <a:srgbClr val="000000"/>
                </a:solidFill>
              </a:endParaRPr>
            </a:p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70869449"/>
      </p:ext>
    </p:extLst>
  </p:cSld>
  <p:clrMapOvr>
    <a:masterClrMapping/>
  </p:clrMapOvr>
  <p:transition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406" name="Rectangle 10"/>
          <p:cNvSpPr/>
          <p:nvPr/>
        </p:nvSpPr>
        <p:spPr>
          <a:xfrm>
            <a:off x="1356333" y="4595627"/>
            <a:ext cx="908041" cy="975589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5600" rIns="45600" anchor="ctr"/>
          <a:lstStyle/>
          <a:p>
            <a:pPr algn="ctr">
              <a:lnSpc>
                <a:spcPct val="95000"/>
              </a:lnSpc>
              <a:defRPr sz="1900"/>
            </a:pPr>
            <a:endParaRPr sz="1896"/>
          </a:p>
        </p:txBody>
      </p:sp>
      <p:sp>
        <p:nvSpPr>
          <p:cNvPr id="1407" name="Rectangle 11"/>
          <p:cNvSpPr/>
          <p:nvPr/>
        </p:nvSpPr>
        <p:spPr>
          <a:xfrm>
            <a:off x="2451974" y="4595626"/>
            <a:ext cx="1534170" cy="1438270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5600" rIns="45600"/>
          <a:lstStyle/>
          <a:p>
            <a:pPr>
              <a:lnSpc>
                <a:spcPct val="95000"/>
              </a:lnSpc>
              <a:defRPr sz="1100"/>
            </a:pPr>
            <a:endParaRPr sz="1097"/>
          </a:p>
        </p:txBody>
      </p:sp>
      <p:sp>
        <p:nvSpPr>
          <p:cNvPr id="1408" name="TextBox 1"/>
          <p:cNvSpPr/>
          <p:nvPr/>
        </p:nvSpPr>
        <p:spPr>
          <a:xfrm>
            <a:off x="615563" y="888718"/>
            <a:ext cx="3369766" cy="3515502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498"/>
              </a:spcBef>
              <a:defRPr sz="5200"/>
            </a:pPr>
            <a:endParaRPr sz="5186"/>
          </a:p>
        </p:txBody>
      </p:sp>
      <p:sp>
        <p:nvSpPr>
          <p:cNvPr id="140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954983" y="1092694"/>
            <a:ext cx="2690223" cy="863819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5186"/>
            </a:lvl1pPr>
            <a:lvl2pPr marL="904873" indent="-796110" algn="ctr">
              <a:defRPr sz="5186"/>
            </a:lvl2pPr>
            <a:lvl3pPr marL="1099755" indent="-762939" algn="ctr">
              <a:defRPr sz="5186"/>
            </a:lvl3pPr>
            <a:lvl4pPr algn="ctr">
              <a:defRPr sz="5186"/>
            </a:lvl4pPr>
            <a:lvl5pPr algn="ctr">
              <a:defRPr sz="5186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4063428635"/>
      </p:ext>
    </p:extLst>
  </p:cSld>
  <p:clrMapOvr>
    <a:masterClrMapping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genda Section Header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417" name="Rectangle 9"/>
          <p:cNvSpPr/>
          <p:nvPr/>
        </p:nvSpPr>
        <p:spPr>
          <a:xfrm>
            <a:off x="1255301" y="1399040"/>
            <a:ext cx="925957" cy="928369"/>
          </a:xfrm>
          <a:prstGeom prst="rect">
            <a:avLst/>
          </a:prstGeom>
          <a:ln>
            <a:solidFill>
              <a:srgbClr val="9B9B9B"/>
            </a:solidFill>
            <a:miter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418" name="Rectangle 12"/>
          <p:cNvSpPr/>
          <p:nvPr/>
        </p:nvSpPr>
        <p:spPr>
          <a:xfrm>
            <a:off x="1255748" y="2613260"/>
            <a:ext cx="9398760" cy="3135208"/>
          </a:xfrm>
          <a:prstGeom prst="rect">
            <a:avLst/>
          </a:prstGeom>
          <a:ln>
            <a:solidFill>
              <a:srgbClr val="9B9B9B"/>
            </a:solidFill>
            <a:miter/>
          </a:ln>
        </p:spPr>
        <p:txBody>
          <a:bodyPr lIns="45600" rIns="45600" anchor="ctr"/>
          <a:lstStyle/>
          <a:p>
            <a:pPr algn="ctr">
              <a:defRPr sz="1900">
                <a:solidFill>
                  <a:srgbClr val="FFFFFF"/>
                </a:solidFill>
              </a:defRPr>
            </a:pPr>
            <a:endParaRPr sz="1896"/>
          </a:p>
        </p:txBody>
      </p:sp>
    </p:spTree>
    <p:extLst>
      <p:ext uri="{BB962C8B-B14F-4D97-AF65-F5344CB8AC3E}">
        <p14:creationId xmlns:p14="http://schemas.microsoft.com/office/powerpoint/2010/main" val="2798579717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genda Full Width Overvie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42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5563" y="610114"/>
            <a:ext cx="7025228" cy="4613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92"/>
            </a:lvl1pPr>
            <a:lvl2pPr marL="613987" indent="-505224">
              <a:defRPr sz="3292"/>
            </a:lvl2pPr>
            <a:lvl3pPr marL="820990" indent="-484174">
              <a:defRPr sz="3292"/>
            </a:lvl3pPr>
            <a:lvl4pPr>
              <a:defRPr sz="3292"/>
            </a:lvl4pPr>
            <a:lvl5pPr>
              <a:defRPr sz="3292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27" name="Straight Connector 12"/>
          <p:cNvSpPr/>
          <p:nvPr/>
        </p:nvSpPr>
        <p:spPr>
          <a:xfrm>
            <a:off x="604714" y="1181434"/>
            <a:ext cx="11311016" cy="1"/>
          </a:xfrm>
          <a:prstGeom prst="line">
            <a:avLst/>
          </a:prstGeom>
          <a:ln>
            <a:solidFill>
              <a:srgbClr val="9B9B9B"/>
            </a:solidFill>
            <a:miter/>
          </a:ln>
        </p:spPr>
        <p:txBody>
          <a:bodyPr lIns="45600" rIns="45600"/>
          <a:lstStyle/>
          <a:p>
            <a:endParaRPr sz="1795"/>
          </a:p>
        </p:txBody>
      </p:sp>
    </p:spTree>
    <p:extLst>
      <p:ext uri="{BB962C8B-B14F-4D97-AF65-F5344CB8AC3E}">
        <p14:creationId xmlns:p14="http://schemas.microsoft.com/office/powerpoint/2010/main" val="1731287595"/>
      </p:ext>
    </p:extLst>
  </p:cSld>
  <p:clrMapOvr>
    <a:masterClrMapping/>
  </p:clrMapOvr>
  <p:transition spd="med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genda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3586939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1435" name="Rectangle 12"/>
          <p:cNvSpPr/>
          <p:nvPr/>
        </p:nvSpPr>
        <p:spPr>
          <a:xfrm>
            <a:off x="3987247" y="-1283"/>
            <a:ext cx="7925355" cy="6719584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43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437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5564" y="3142373"/>
            <a:ext cx="1511688" cy="4341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spcBef>
                <a:spcPts val="598"/>
              </a:spcBef>
              <a:defRPr sz="3092"/>
            </a:lvl1pPr>
            <a:lvl2pPr marL="583367" indent="-474604">
              <a:lnSpc>
                <a:spcPct val="90000"/>
              </a:lnSpc>
              <a:spcBef>
                <a:spcPts val="598"/>
              </a:spcBef>
              <a:defRPr sz="3092"/>
            </a:lvl2pPr>
            <a:lvl3pPr marL="791645" indent="-454829">
              <a:lnSpc>
                <a:spcPct val="90000"/>
              </a:lnSpc>
              <a:spcBef>
                <a:spcPts val="598"/>
              </a:spcBef>
              <a:defRPr sz="3092"/>
            </a:lvl3pPr>
            <a:lvl4pPr>
              <a:lnSpc>
                <a:spcPct val="90000"/>
              </a:lnSpc>
              <a:spcBef>
                <a:spcPts val="598"/>
              </a:spcBef>
              <a:defRPr sz="3092"/>
            </a:lvl4pPr>
            <a:lvl5pPr>
              <a:lnSpc>
                <a:spcPct val="90000"/>
              </a:lnSpc>
              <a:spcBef>
                <a:spcPts val="598"/>
              </a:spcBef>
              <a:defRPr sz="3092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2502385341"/>
      </p:ext>
    </p:extLst>
  </p:cSld>
  <p:clrMapOvr>
    <a:masterClrMapping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445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446" name="Rectangle 7"/>
          <p:cNvSpPr/>
          <p:nvPr/>
        </p:nvSpPr>
        <p:spPr>
          <a:xfrm>
            <a:off x="1356333" y="4595627"/>
            <a:ext cx="908041" cy="975589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5600" rIns="45600" anchor="ctr"/>
          <a:lstStyle/>
          <a:p>
            <a:pPr algn="ctr">
              <a:lnSpc>
                <a:spcPct val="95000"/>
              </a:lnSpc>
              <a:defRPr sz="1900">
                <a:solidFill>
                  <a:srgbClr val="FFFFFF"/>
                </a:solidFill>
              </a:defRPr>
            </a:pPr>
            <a:endParaRPr sz="1896"/>
          </a:p>
        </p:txBody>
      </p:sp>
      <p:sp>
        <p:nvSpPr>
          <p:cNvPr id="1447" name="Rectangle 9"/>
          <p:cNvSpPr/>
          <p:nvPr/>
        </p:nvSpPr>
        <p:spPr>
          <a:xfrm>
            <a:off x="2451974" y="4595626"/>
            <a:ext cx="1534170" cy="1438270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5600" rIns="45600"/>
          <a:lstStyle/>
          <a:p>
            <a:pPr>
              <a:lnSpc>
                <a:spcPct val="95000"/>
              </a:lnSpc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448" name="TextBox 10"/>
          <p:cNvSpPr/>
          <p:nvPr/>
        </p:nvSpPr>
        <p:spPr>
          <a:xfrm>
            <a:off x="615563" y="888717"/>
            <a:ext cx="3369766" cy="3540385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498"/>
              </a:spcBef>
              <a:defRPr sz="5200">
                <a:solidFill>
                  <a:schemeClr val="accent1"/>
                </a:solidFill>
              </a:defRPr>
            </a:pPr>
            <a:endParaRPr sz="5186"/>
          </a:p>
        </p:txBody>
      </p:sp>
      <p:sp>
        <p:nvSpPr>
          <p:cNvPr id="144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954983" y="1092694"/>
            <a:ext cx="2690223" cy="863819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5186"/>
            </a:lvl1pPr>
            <a:lvl2pPr marL="904873" indent="-796110" algn="ctr">
              <a:defRPr sz="5186"/>
            </a:lvl2pPr>
            <a:lvl3pPr marL="1099755" indent="-762939" algn="ctr">
              <a:defRPr sz="5186"/>
            </a:lvl3pPr>
            <a:lvl4pPr algn="ctr">
              <a:defRPr sz="5186"/>
            </a:lvl4pPr>
            <a:lvl5pPr algn="ctr">
              <a:defRPr sz="5186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3923268766"/>
      </p:ext>
    </p:extLst>
  </p:cSld>
  <p:clrMapOvr>
    <a:masterClrMapping/>
  </p:clrMapOvr>
  <p:transition spd="med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457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458" name="Rectangle 7"/>
          <p:cNvSpPr/>
          <p:nvPr/>
        </p:nvSpPr>
        <p:spPr>
          <a:xfrm>
            <a:off x="1255301" y="1399040"/>
            <a:ext cx="925957" cy="928369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459" name="Rectangle 9"/>
          <p:cNvSpPr/>
          <p:nvPr/>
        </p:nvSpPr>
        <p:spPr>
          <a:xfrm>
            <a:off x="1255748" y="2613260"/>
            <a:ext cx="9398760" cy="3135208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5600" rIns="45600" anchor="ctr"/>
          <a:lstStyle/>
          <a:p>
            <a:pPr algn="ctr">
              <a:defRPr sz="1900">
                <a:solidFill>
                  <a:srgbClr val="FFFFFF"/>
                </a:solidFill>
              </a:defRPr>
            </a:pPr>
            <a:endParaRPr sz="1896"/>
          </a:p>
        </p:txBody>
      </p:sp>
    </p:spTree>
    <p:extLst>
      <p:ext uri="{BB962C8B-B14F-4D97-AF65-F5344CB8AC3E}">
        <p14:creationId xmlns:p14="http://schemas.microsoft.com/office/powerpoint/2010/main" val="1099360585"/>
      </p:ext>
    </p:extLst>
  </p:cSld>
  <p:clrMapOvr>
    <a:masterClrMapping/>
  </p:clrMapOvr>
  <p:transition spd="med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467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46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5563" y="610114"/>
            <a:ext cx="7025228" cy="4613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92"/>
            </a:lvl1pPr>
            <a:lvl2pPr marL="613987" indent="-505224">
              <a:defRPr sz="3292"/>
            </a:lvl2pPr>
            <a:lvl3pPr marL="820990" indent="-484174">
              <a:defRPr sz="3292"/>
            </a:lvl3pPr>
            <a:lvl4pPr>
              <a:defRPr sz="3292"/>
            </a:lvl4pPr>
            <a:lvl5pPr>
              <a:defRPr sz="3292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69" name="Straight Connector 8"/>
          <p:cNvSpPr/>
          <p:nvPr/>
        </p:nvSpPr>
        <p:spPr>
          <a:xfrm>
            <a:off x="604714" y="1181434"/>
            <a:ext cx="11311016" cy="1"/>
          </a:xfrm>
          <a:prstGeom prst="line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5600" rIns="45600"/>
          <a:lstStyle/>
          <a:p>
            <a:endParaRPr sz="1795"/>
          </a:p>
        </p:txBody>
      </p:sp>
    </p:spTree>
    <p:extLst>
      <p:ext uri="{BB962C8B-B14F-4D97-AF65-F5344CB8AC3E}">
        <p14:creationId xmlns:p14="http://schemas.microsoft.com/office/powerpoint/2010/main" val="176596382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entagon 3"/>
          <p:cNvSpPr/>
          <p:nvPr/>
        </p:nvSpPr>
        <p:spPr>
          <a:xfrm>
            <a:off x="0" y="0"/>
            <a:ext cx="5302555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6E6F73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4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1749226"/>
            <a:ext cx="3969142" cy="3219849"/>
          </a:xfrm>
          <a:prstGeom prst="rect">
            <a:avLst/>
          </a:prstGeom>
        </p:spPr>
        <p:txBody>
          <a:bodyPr/>
          <a:lstStyle>
            <a:lvl1pPr>
              <a:defRPr sz="4189"/>
            </a:lvl1pPr>
          </a:lstStyle>
          <a:p>
            <a:r>
              <a:t>Текст заголовка</a:t>
            </a:r>
          </a:p>
        </p:txBody>
      </p:sp>
      <p:sp>
        <p:nvSpPr>
          <p:cNvPr id="1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50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7562" r="1" b="6870"/>
          <a:stretch>
            <a:fillRect/>
          </a:stretch>
        </p:blipFill>
        <p:spPr>
          <a:xfrm>
            <a:off x="3496063" y="3346709"/>
            <a:ext cx="2632869" cy="33714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72" y="21600"/>
                </a:lnTo>
                <a:lnTo>
                  <a:pt x="14271" y="2278"/>
                </a:lnTo>
                <a:lnTo>
                  <a:pt x="14248" y="2276"/>
                </a:lnTo>
                <a:lnTo>
                  <a:pt x="14821" y="79"/>
                </a:lnTo>
                <a:lnTo>
                  <a:pt x="14798" y="0"/>
                </a:lnTo>
                <a:lnTo>
                  <a:pt x="0" y="0"/>
                </a:lnTo>
                <a:close/>
                <a:moveTo>
                  <a:pt x="16355" y="0"/>
                </a:moveTo>
                <a:lnTo>
                  <a:pt x="16215" y="2382"/>
                </a:lnTo>
                <a:lnTo>
                  <a:pt x="14564" y="2293"/>
                </a:lnTo>
                <a:lnTo>
                  <a:pt x="12109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355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86829189"/>
      </p:ext>
    </p:extLst>
  </p:cSld>
  <p:clrMapOvr>
    <a:masterClrMapping/>
  </p:clrMapOvr>
  <p:transition spd="med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genda D.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6" name="Picture 22" descr="Picture 22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3586939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1477" name="Rectangle 25"/>
          <p:cNvSpPr/>
          <p:nvPr/>
        </p:nvSpPr>
        <p:spPr>
          <a:xfrm>
            <a:off x="3987247" y="-1283"/>
            <a:ext cx="7925355" cy="671958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47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47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5564" y="3195695"/>
            <a:ext cx="1134440" cy="32562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spcBef>
                <a:spcPts val="598"/>
              </a:spcBef>
              <a:defRPr sz="2294"/>
            </a:lvl1pPr>
            <a:lvl2pPr marL="460888" indent="-352125">
              <a:lnSpc>
                <a:spcPct val="90000"/>
              </a:lnSpc>
              <a:spcBef>
                <a:spcPts val="598"/>
              </a:spcBef>
              <a:defRPr sz="2294"/>
            </a:lvl2pPr>
            <a:lvl3pPr marL="674269" indent="-337453">
              <a:lnSpc>
                <a:spcPct val="90000"/>
              </a:lnSpc>
              <a:spcBef>
                <a:spcPts val="598"/>
              </a:spcBef>
              <a:defRPr sz="2294"/>
            </a:lvl3pPr>
            <a:lvl4pPr>
              <a:lnSpc>
                <a:spcPct val="90000"/>
              </a:lnSpc>
              <a:spcBef>
                <a:spcPts val="598"/>
              </a:spcBef>
              <a:defRPr sz="2294"/>
            </a:lvl4pPr>
            <a:lvl5pPr>
              <a:lnSpc>
                <a:spcPct val="90000"/>
              </a:lnSpc>
              <a:spcBef>
                <a:spcPts val="598"/>
              </a:spcBef>
              <a:defRPr sz="2294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267687677"/>
      </p:ext>
    </p:extLst>
  </p:cSld>
  <p:clrMapOvr>
    <a:masterClrMapping/>
  </p:clrMapOvr>
  <p:transition spd="med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genda 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6" name="Freeform 12"/>
          <p:cNvSpPr/>
          <p:nvPr/>
        </p:nvSpPr>
        <p:spPr>
          <a:xfrm>
            <a:off x="0" y="1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487" name="Freeform 12"/>
          <p:cNvSpPr/>
          <p:nvPr/>
        </p:nvSpPr>
        <p:spPr>
          <a:xfrm>
            <a:off x="0" y="1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48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5561" y="2525422"/>
            <a:ext cx="3100036" cy="1725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5999"/>
              </a:lnSpc>
              <a:spcBef>
                <a:spcPts val="699"/>
              </a:spcBef>
              <a:buClrTx/>
              <a:buSzTx/>
              <a:buFontTx/>
              <a:buNone/>
              <a:defRPr sz="5186"/>
            </a:lvl1pPr>
            <a:lvl2pPr marL="904873" indent="-796110">
              <a:lnSpc>
                <a:spcPct val="105999"/>
              </a:lnSpc>
              <a:spcBef>
                <a:spcPts val="699"/>
              </a:spcBef>
              <a:buClrTx/>
              <a:buFontTx/>
              <a:defRPr sz="5186"/>
            </a:lvl2pPr>
            <a:lvl3pPr marL="1099755" indent="-762939">
              <a:lnSpc>
                <a:spcPct val="105999"/>
              </a:lnSpc>
              <a:spcBef>
                <a:spcPts val="699"/>
              </a:spcBef>
              <a:buClrTx/>
              <a:buFontTx/>
              <a:defRPr sz="5186"/>
            </a:lvl3pPr>
            <a:lvl4pPr>
              <a:lnSpc>
                <a:spcPct val="105999"/>
              </a:lnSpc>
              <a:spcBef>
                <a:spcPts val="699"/>
              </a:spcBef>
              <a:buClrTx/>
              <a:buFontTx/>
              <a:defRPr sz="5186"/>
            </a:lvl4pPr>
            <a:lvl5pPr>
              <a:lnSpc>
                <a:spcPct val="105999"/>
              </a:lnSpc>
              <a:spcBef>
                <a:spcPts val="699"/>
              </a:spcBef>
              <a:buClrTx/>
              <a:buFontTx/>
              <a:defRPr sz="5186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8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490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3037398" y="3513685"/>
            <a:ext cx="1333898" cy="3313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263"/>
                </a:lnTo>
                <a:lnTo>
                  <a:pt x="14704" y="0"/>
                </a:lnTo>
                <a:lnTo>
                  <a:pt x="0" y="0"/>
                </a:lnTo>
                <a:close/>
                <a:moveTo>
                  <a:pt x="14916" y="0"/>
                </a:moveTo>
                <a:lnTo>
                  <a:pt x="203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916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05035637"/>
      </p:ext>
    </p:extLst>
  </p:cSld>
  <p:clrMapOvr>
    <a:masterClrMapping/>
  </p:clrMapOvr>
  <p:transition spd="med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18992" y="365489"/>
            <a:ext cx="10274618" cy="1295187"/>
          </a:xfrm>
          <a:prstGeom prst="rect">
            <a:avLst/>
          </a:prstGeom>
        </p:spPr>
        <p:txBody>
          <a:bodyPr lIns="44672" tIns="44672" rIns="44672" bIns="44672"/>
          <a:lstStyle>
            <a:lvl1pPr defTabSz="893465">
              <a:defRPr sz="4189">
                <a:solidFill>
                  <a:srgbClr val="000000"/>
                </a:solidFill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98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818992" y="1792519"/>
            <a:ext cx="10274618" cy="4251620"/>
          </a:xfrm>
          <a:prstGeom prst="rect">
            <a:avLst/>
          </a:prstGeom>
        </p:spPr>
        <p:txBody>
          <a:bodyPr lIns="44672" tIns="44672" rIns="44672" bIns="44672">
            <a:normAutofit/>
          </a:bodyPr>
          <a:lstStyle>
            <a:lvl1pPr marL="211724" indent="-211724" defTabSz="893465">
              <a:lnSpc>
                <a:spcPct val="90000"/>
              </a:lnSpc>
              <a:spcBef>
                <a:spcPts val="898"/>
              </a:spcBef>
              <a:buClrTx/>
              <a:buChar char="•"/>
              <a:defRPr sz="2593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lvl1pPr>
            <a:lvl2pPr marL="703034" indent="-247012" defTabSz="893465">
              <a:lnSpc>
                <a:spcPct val="90000"/>
              </a:lnSpc>
              <a:spcBef>
                <a:spcPts val="898"/>
              </a:spcBef>
              <a:buClrTx/>
              <a:defRPr sz="2593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lvl2pPr>
            <a:lvl3pPr marL="1208459" indent="-296414" defTabSz="893465">
              <a:lnSpc>
                <a:spcPct val="90000"/>
              </a:lnSpc>
              <a:spcBef>
                <a:spcPts val="898"/>
              </a:spcBef>
              <a:buClrTx/>
              <a:buChar char="•"/>
              <a:defRPr sz="2593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lvl3pPr>
            <a:lvl4pPr marL="1697415" indent="-329349" defTabSz="893465">
              <a:lnSpc>
                <a:spcPct val="90000"/>
              </a:lnSpc>
              <a:spcBef>
                <a:spcPts val="898"/>
              </a:spcBef>
              <a:buClrTx/>
              <a:buChar char="•"/>
              <a:defRPr sz="2593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lvl4pPr>
            <a:lvl5pPr marL="2153438" indent="-329349" defTabSz="893465">
              <a:lnSpc>
                <a:spcPct val="90000"/>
              </a:lnSpc>
              <a:spcBef>
                <a:spcPts val="898"/>
              </a:spcBef>
              <a:buClrTx/>
              <a:buChar char="•"/>
              <a:defRPr sz="2593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9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0836680" y="6268272"/>
            <a:ext cx="256929" cy="259045"/>
          </a:xfrm>
          <a:prstGeom prst="rect">
            <a:avLst/>
          </a:prstGeom>
          <a:ln w="3175"/>
        </p:spPr>
        <p:txBody>
          <a:bodyPr lIns="44672" tIns="44672" rIns="44672" bIns="44672" anchor="ctr"/>
          <a:lstStyle>
            <a:lvl1pPr defTabSz="893465">
              <a:defRPr sz="1097">
                <a:solidFill>
                  <a:srgbClr val="888888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01639701"/>
      </p:ext>
    </p:extLst>
  </p:cSld>
  <p:clrMapOvr>
    <a:masterClrMapping/>
  </p:clrMapOvr>
  <p:transition spd="med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6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3586939" y="8732"/>
            <a:ext cx="407397" cy="6700838"/>
          </a:xfrm>
          <a:prstGeom prst="rect">
            <a:avLst/>
          </a:prstGeom>
          <a:ln w="12700">
            <a:miter lim="400000"/>
          </a:ln>
        </p:spPr>
      </p:pic>
      <p:sp>
        <p:nvSpPr>
          <p:cNvPr id="150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2628393"/>
            <a:ext cx="3056201" cy="1461516"/>
          </a:xfrm>
          <a:prstGeom prst="rect">
            <a:avLst/>
          </a:prstGeom>
        </p:spPr>
        <p:txBody>
          <a:bodyPr/>
          <a:lstStyle>
            <a:lvl1pPr defTabSz="893465">
              <a:defRPr sz="2992"/>
            </a:lvl1pPr>
          </a:lstStyle>
          <a:p>
            <a:r>
              <a:t>Текст заголовка</a:t>
            </a:r>
          </a:p>
        </p:txBody>
      </p:sp>
      <p:sp>
        <p:nvSpPr>
          <p:cNvPr id="1508" name="Rectangle 12"/>
          <p:cNvSpPr/>
          <p:nvPr/>
        </p:nvSpPr>
        <p:spPr>
          <a:xfrm>
            <a:off x="3987245" y="7453"/>
            <a:ext cx="7925354" cy="6702117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4556" tIns="44556" rIns="44556" bIns="44556"/>
          <a:lstStyle/>
          <a:p>
            <a:pPr defTabSz="893465"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50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6" y="6279171"/>
            <a:ext cx="141065" cy="138179"/>
          </a:xfrm>
          <a:prstGeom prst="rect">
            <a:avLst/>
          </a:prstGeom>
        </p:spPr>
        <p:txBody>
          <a:bodyPr/>
          <a:lstStyle>
            <a:lvl1pPr defTabSz="893465"/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4654614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8" name="Pentagon 8"/>
          <p:cNvSpPr/>
          <p:nvPr/>
        </p:nvSpPr>
        <p:spPr>
          <a:xfrm>
            <a:off x="0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5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610114"/>
            <a:ext cx="4566544" cy="46130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160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5274106" y="3516484"/>
            <a:ext cx="1333898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454"/>
                </a:lnTo>
                <a:lnTo>
                  <a:pt x="14370" y="0"/>
                </a:lnTo>
                <a:lnTo>
                  <a:pt x="0" y="0"/>
                </a:lnTo>
                <a:close/>
                <a:moveTo>
                  <a:pt x="14563" y="0"/>
                </a:moveTo>
                <a:lnTo>
                  <a:pt x="2005" y="21204"/>
                </a:lnTo>
                <a:lnTo>
                  <a:pt x="0" y="21204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63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161" name="Picture 10" descr="Picture 10"/>
          <p:cNvPicPr>
            <a:picLocks noChangeAspect="1"/>
          </p:cNvPicPr>
          <p:nvPr/>
        </p:nvPicPr>
        <p:blipFill>
          <a:blip r:embed="rId3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5655545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Pentagon 8"/>
          <p:cNvSpPr/>
          <p:nvPr/>
        </p:nvSpPr>
        <p:spPr>
          <a:xfrm>
            <a:off x="0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6E6F73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6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610114"/>
            <a:ext cx="4566544" cy="461307"/>
          </a:xfrm>
          <a:prstGeom prst="rect">
            <a:avLst/>
          </a:prstGeom>
        </p:spPr>
        <p:txBody>
          <a:bodyPr anchor="t"/>
          <a:lstStyle/>
          <a:p>
            <a:r>
              <a:t>Текст заголовка</a:t>
            </a:r>
          </a:p>
        </p:txBody>
      </p:sp>
      <p:sp>
        <p:nvSpPr>
          <p:cNvPr id="17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71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9052" r="1" b="6867"/>
          <a:stretch>
            <a:fillRect/>
          </a:stretch>
        </p:blipFill>
        <p:spPr>
          <a:xfrm rot="120000">
            <a:off x="4357961" y="3338384"/>
            <a:ext cx="2632869" cy="33861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59" y="21600"/>
                </a:lnTo>
                <a:lnTo>
                  <a:pt x="14762" y="0"/>
                </a:lnTo>
                <a:lnTo>
                  <a:pt x="0" y="0"/>
                </a:lnTo>
                <a:close/>
                <a:moveTo>
                  <a:pt x="17126" y="0"/>
                </a:moveTo>
                <a:lnTo>
                  <a:pt x="15349" y="2663"/>
                </a:lnTo>
                <a:lnTo>
                  <a:pt x="14883" y="2704"/>
                </a:lnTo>
                <a:lnTo>
                  <a:pt x="1568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7126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87455535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Freeform 18"/>
          <p:cNvSpPr/>
          <p:nvPr/>
        </p:nvSpPr>
        <p:spPr>
          <a:xfrm>
            <a:off x="0" y="1"/>
            <a:ext cx="8252680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7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8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610114"/>
            <a:ext cx="6113415" cy="46130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181" name="Picture 15" descr="Picture 15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7318685" y="3516484"/>
            <a:ext cx="1333897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2026"/>
                </a:lnTo>
                <a:lnTo>
                  <a:pt x="13490" y="0"/>
                </a:lnTo>
                <a:lnTo>
                  <a:pt x="0" y="0"/>
                </a:lnTo>
                <a:close/>
                <a:moveTo>
                  <a:pt x="14087" y="0"/>
                </a:moveTo>
                <a:lnTo>
                  <a:pt x="13772" y="548"/>
                </a:lnTo>
                <a:lnTo>
                  <a:pt x="14203" y="0"/>
                </a:lnTo>
                <a:lnTo>
                  <a:pt x="14087" y="0"/>
                </a:lnTo>
                <a:close/>
                <a:moveTo>
                  <a:pt x="14421" y="0"/>
                </a:moveTo>
                <a:lnTo>
                  <a:pt x="2050" y="21507"/>
                </a:lnTo>
                <a:lnTo>
                  <a:pt x="1761" y="21507"/>
                </a:lnTo>
                <a:lnTo>
                  <a:pt x="1709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421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182" name="Picture 9" descr="Picture 9"/>
          <p:cNvPicPr>
            <a:picLocks noChangeAspect="1"/>
          </p:cNvPicPr>
          <p:nvPr/>
        </p:nvPicPr>
        <p:blipFill>
          <a:blip r:embed="rId3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76511722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Freeform 18"/>
          <p:cNvSpPr/>
          <p:nvPr/>
        </p:nvSpPr>
        <p:spPr>
          <a:xfrm>
            <a:off x="0" y="1"/>
            <a:ext cx="8252680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9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610114"/>
            <a:ext cx="6113415" cy="461307"/>
          </a:xfrm>
          <a:prstGeom prst="rect">
            <a:avLst/>
          </a:prstGeom>
        </p:spPr>
        <p:txBody>
          <a:bodyPr anchor="t"/>
          <a:lstStyle/>
          <a:p>
            <a:r>
              <a:t>Текст заголовка</a:t>
            </a:r>
          </a:p>
        </p:txBody>
      </p:sp>
      <p:sp>
        <p:nvSpPr>
          <p:cNvPr id="19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92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9052" r="1" b="6867"/>
          <a:stretch>
            <a:fillRect/>
          </a:stretch>
        </p:blipFill>
        <p:spPr>
          <a:xfrm rot="120000">
            <a:off x="6417121" y="3338384"/>
            <a:ext cx="2632869" cy="33861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30" y="21600"/>
                </a:lnTo>
                <a:lnTo>
                  <a:pt x="14632" y="0"/>
                </a:lnTo>
                <a:lnTo>
                  <a:pt x="0" y="0"/>
                </a:lnTo>
                <a:close/>
                <a:moveTo>
                  <a:pt x="16579" y="0"/>
                </a:moveTo>
                <a:lnTo>
                  <a:pt x="11503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579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3982426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0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3748390"/>
            <a:ext cx="10682649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785"/>
              </a:lnSpc>
              <a:defRPr sz="5186"/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51186949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08" name="Rectangle 5"/>
          <p:cNvSpPr/>
          <p:nvPr/>
        </p:nvSpPr>
        <p:spPr>
          <a:xfrm>
            <a:off x="615561" y="612734"/>
            <a:ext cx="911316" cy="913690"/>
          </a:xfrm>
          <a:prstGeom prst="rect">
            <a:avLst/>
          </a:prstGeom>
          <a:ln w="10795">
            <a:solidFill>
              <a:srgbClr val="888888"/>
            </a:solidFill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20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3748390"/>
            <a:ext cx="10682649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785"/>
              </a:lnSpc>
              <a:defRPr sz="5186">
                <a:solidFill>
                  <a:srgbClr val="888888"/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824938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37266892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217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r="3623" b="1258"/>
          <a:stretch>
            <a:fillRect/>
          </a:stretch>
        </p:blipFill>
        <p:spPr>
          <a:xfrm rot="16200000" flipH="1">
            <a:off x="6640624" y="112217"/>
            <a:ext cx="753666" cy="9790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984"/>
                </a:lnTo>
                <a:lnTo>
                  <a:pt x="6085" y="2155"/>
                </a:lnTo>
                <a:lnTo>
                  <a:pt x="5551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218" name="Freeform 58"/>
          <p:cNvSpPr/>
          <p:nvPr/>
        </p:nvSpPr>
        <p:spPr>
          <a:xfrm flipH="1">
            <a:off x="1" y="0"/>
            <a:ext cx="11912601" cy="57478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18208"/>
                </a:lnTo>
                <a:lnTo>
                  <a:pt x="16019" y="18208"/>
                </a:lnTo>
                <a:lnTo>
                  <a:pt x="17671" y="21600"/>
                </a:lnTo>
                <a:lnTo>
                  <a:pt x="17671" y="18208"/>
                </a:lnTo>
                <a:lnTo>
                  <a:pt x="21600" y="18208"/>
                </a:lnTo>
                <a:close/>
              </a:path>
            </a:pathLst>
          </a:custGeom>
          <a:solidFill>
            <a:srgbClr val="6E6F73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2200">
                <a:solidFill>
                  <a:srgbClr val="000000"/>
                </a:solidFill>
              </a:defRPr>
            </a:pPr>
            <a:endParaRPr sz="2195"/>
          </a:p>
        </p:txBody>
      </p:sp>
    </p:spTree>
    <p:extLst>
      <p:ext uri="{BB962C8B-B14F-4D97-AF65-F5344CB8AC3E}">
        <p14:creationId xmlns:p14="http://schemas.microsoft.com/office/powerpoint/2010/main" val="1514716116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2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610114"/>
            <a:ext cx="10682649" cy="461307"/>
          </a:xfrm>
          <a:prstGeom prst="rect">
            <a:avLst/>
          </a:prstGeom>
        </p:spPr>
        <p:txBody>
          <a:bodyPr anchor="t"/>
          <a:lstStyle/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5745783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681331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703406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ayout gu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grpSp>
        <p:nvGrpSpPr>
          <p:cNvPr id="311" name="Group 48"/>
          <p:cNvGrpSpPr/>
          <p:nvPr/>
        </p:nvGrpSpPr>
        <p:grpSpPr>
          <a:xfrm>
            <a:off x="-587" y="-3"/>
            <a:ext cx="11914362" cy="6718304"/>
            <a:chOff x="-1" y="-1"/>
            <a:chExt cx="11914361" cy="6718302"/>
          </a:xfrm>
        </p:grpSpPr>
        <p:sp>
          <p:nvSpPr>
            <p:cNvPr id="266" name="No fly zone"/>
            <p:cNvSpPr/>
            <p:nvPr/>
          </p:nvSpPr>
          <p:spPr>
            <a:xfrm>
              <a:off x="586" y="-1"/>
              <a:ext cx="11913774" cy="67183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6" y="1962"/>
                  </a:moveTo>
                  <a:lnTo>
                    <a:pt x="1116" y="19403"/>
                  </a:lnTo>
                  <a:lnTo>
                    <a:pt x="20482" y="19403"/>
                  </a:lnTo>
                  <a:lnTo>
                    <a:pt x="20482" y="1962"/>
                  </a:lnTo>
                  <a:close/>
                  <a:moveTo>
                    <a:pt x="0" y="0"/>
                  </a:moveTo>
                  <a:lnTo>
                    <a:pt x="21600" y="0"/>
                  </a:lnTo>
                  <a:lnTo>
                    <a:pt x="21600" y="1962"/>
                  </a:lnTo>
                  <a:lnTo>
                    <a:pt x="21598" y="1962"/>
                  </a:lnTo>
                  <a:lnTo>
                    <a:pt x="21598" y="19403"/>
                  </a:lnTo>
                  <a:lnTo>
                    <a:pt x="21600" y="19403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1962"/>
                  </a:lnTo>
                  <a:lnTo>
                    <a:pt x="0" y="1962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/>
              </a:pPr>
              <a:endParaRPr sz="2195"/>
            </a:p>
          </p:txBody>
        </p:sp>
        <p:grpSp>
          <p:nvGrpSpPr>
            <p:cNvPr id="287" name="Baselines / anchors"/>
            <p:cNvGrpSpPr/>
            <p:nvPr/>
          </p:nvGrpSpPr>
          <p:grpSpPr>
            <a:xfrm>
              <a:off x="-1" y="610114"/>
              <a:ext cx="11913774" cy="5424014"/>
              <a:chOff x="0" y="0"/>
              <a:chExt cx="11913772" cy="5424013"/>
            </a:xfrm>
          </p:grpSpPr>
          <p:sp>
            <p:nvSpPr>
              <p:cNvPr id="267" name="Straight Connector 76"/>
              <p:cNvSpPr/>
              <p:nvPr/>
            </p:nvSpPr>
            <p:spPr>
              <a:xfrm>
                <a:off x="0" y="-1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68" name="Straight Connector 77"/>
              <p:cNvSpPr/>
              <p:nvPr/>
            </p:nvSpPr>
            <p:spPr>
              <a:xfrm>
                <a:off x="0" y="285474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69" name="Straight Connector 78"/>
              <p:cNvSpPr/>
              <p:nvPr/>
            </p:nvSpPr>
            <p:spPr>
              <a:xfrm>
                <a:off x="0" y="57094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70" name="Straight Connector 79"/>
              <p:cNvSpPr/>
              <p:nvPr/>
            </p:nvSpPr>
            <p:spPr>
              <a:xfrm>
                <a:off x="0" y="85697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71" name="Straight Connector 80"/>
              <p:cNvSpPr/>
              <p:nvPr/>
            </p:nvSpPr>
            <p:spPr>
              <a:xfrm>
                <a:off x="0" y="114189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72" name="Straight Connector 81"/>
              <p:cNvSpPr/>
              <p:nvPr/>
            </p:nvSpPr>
            <p:spPr>
              <a:xfrm>
                <a:off x="0" y="1427374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73" name="Straight Connector 82"/>
              <p:cNvSpPr/>
              <p:nvPr/>
            </p:nvSpPr>
            <p:spPr>
              <a:xfrm>
                <a:off x="0" y="171284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74" name="Straight Connector 83"/>
              <p:cNvSpPr/>
              <p:nvPr/>
            </p:nvSpPr>
            <p:spPr>
              <a:xfrm>
                <a:off x="0" y="199832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75" name="Straight Connector 84"/>
              <p:cNvSpPr/>
              <p:nvPr/>
            </p:nvSpPr>
            <p:spPr>
              <a:xfrm>
                <a:off x="0" y="228379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76" name="Straight Connector 85"/>
              <p:cNvSpPr/>
              <p:nvPr/>
            </p:nvSpPr>
            <p:spPr>
              <a:xfrm>
                <a:off x="0" y="256927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77" name="Straight Connector 86"/>
              <p:cNvSpPr/>
              <p:nvPr/>
            </p:nvSpPr>
            <p:spPr>
              <a:xfrm>
                <a:off x="0" y="285474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78" name="Straight Connector 87"/>
              <p:cNvSpPr/>
              <p:nvPr/>
            </p:nvSpPr>
            <p:spPr>
              <a:xfrm>
                <a:off x="0" y="314022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79" name="Straight Connector 88"/>
              <p:cNvSpPr/>
              <p:nvPr/>
            </p:nvSpPr>
            <p:spPr>
              <a:xfrm>
                <a:off x="0" y="342569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80" name="Straight Connector 89"/>
              <p:cNvSpPr/>
              <p:nvPr/>
            </p:nvSpPr>
            <p:spPr>
              <a:xfrm>
                <a:off x="0" y="371117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81" name="Straight Connector 90"/>
              <p:cNvSpPr/>
              <p:nvPr/>
            </p:nvSpPr>
            <p:spPr>
              <a:xfrm>
                <a:off x="0" y="399664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82" name="Straight Connector 91"/>
              <p:cNvSpPr/>
              <p:nvPr/>
            </p:nvSpPr>
            <p:spPr>
              <a:xfrm>
                <a:off x="0" y="4282122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83" name="Straight Connector 133"/>
              <p:cNvSpPr/>
              <p:nvPr/>
            </p:nvSpPr>
            <p:spPr>
              <a:xfrm>
                <a:off x="0" y="456759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84" name="Straight Connector 134"/>
              <p:cNvSpPr/>
              <p:nvPr/>
            </p:nvSpPr>
            <p:spPr>
              <a:xfrm>
                <a:off x="0" y="4853072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85" name="Straight Connector 135"/>
              <p:cNvSpPr/>
              <p:nvPr/>
            </p:nvSpPr>
            <p:spPr>
              <a:xfrm>
                <a:off x="0" y="513854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286" name="Straight Connector 136"/>
              <p:cNvSpPr/>
              <p:nvPr/>
            </p:nvSpPr>
            <p:spPr>
              <a:xfrm>
                <a:off x="0" y="542401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</p:grpSp>
        <p:grpSp>
          <p:nvGrpSpPr>
            <p:cNvPr id="299" name="Gutter space"/>
            <p:cNvGrpSpPr/>
            <p:nvPr/>
          </p:nvGrpSpPr>
          <p:grpSpPr>
            <a:xfrm>
              <a:off x="1248321" y="610849"/>
              <a:ext cx="9417131" cy="5424256"/>
              <a:chOff x="0" y="0"/>
              <a:chExt cx="9417129" cy="5424254"/>
            </a:xfrm>
          </p:grpSpPr>
          <p:sp>
            <p:nvSpPr>
              <p:cNvPr id="288" name="Rectangle 34"/>
              <p:cNvSpPr/>
              <p:nvPr/>
            </p:nvSpPr>
            <p:spPr>
              <a:xfrm>
                <a:off x="5481437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289" name="Rectangle 35"/>
              <p:cNvSpPr/>
              <p:nvPr/>
            </p:nvSpPr>
            <p:spPr>
              <a:xfrm>
                <a:off x="7308584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290" name="Rectangle 36"/>
              <p:cNvSpPr/>
              <p:nvPr/>
            </p:nvSpPr>
            <p:spPr>
              <a:xfrm>
                <a:off x="6395010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291" name="Rectangle 37"/>
              <p:cNvSpPr/>
              <p:nvPr/>
            </p:nvSpPr>
            <p:spPr>
              <a:xfrm>
                <a:off x="8222157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292" name="Rectangle 38"/>
              <p:cNvSpPr/>
              <p:nvPr/>
            </p:nvSpPr>
            <p:spPr>
              <a:xfrm>
                <a:off x="9135729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293" name="Rectangle 39"/>
              <p:cNvSpPr/>
              <p:nvPr/>
            </p:nvSpPr>
            <p:spPr>
              <a:xfrm>
                <a:off x="4567864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294" name="Rectangle 40"/>
              <p:cNvSpPr/>
              <p:nvPr/>
            </p:nvSpPr>
            <p:spPr>
              <a:xfrm>
                <a:off x="0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295" name="Rectangle 41"/>
              <p:cNvSpPr/>
              <p:nvPr/>
            </p:nvSpPr>
            <p:spPr>
              <a:xfrm>
                <a:off x="913573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296" name="Rectangle 42"/>
              <p:cNvSpPr/>
              <p:nvPr/>
            </p:nvSpPr>
            <p:spPr>
              <a:xfrm>
                <a:off x="1827146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297" name="Rectangle 43"/>
              <p:cNvSpPr/>
              <p:nvPr/>
            </p:nvSpPr>
            <p:spPr>
              <a:xfrm>
                <a:off x="2740718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298" name="Rectangle 44"/>
              <p:cNvSpPr/>
              <p:nvPr/>
            </p:nvSpPr>
            <p:spPr>
              <a:xfrm>
                <a:off x="3654292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</p:grpSp>
        <p:sp>
          <p:nvSpPr>
            <p:cNvPr id="300" name="Slide edges"/>
            <p:cNvSpPr/>
            <p:nvPr/>
          </p:nvSpPr>
          <p:spPr>
            <a:xfrm>
              <a:off x="-1" y="0"/>
              <a:ext cx="11913774" cy="67183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593" y="21587"/>
                  </a:moveTo>
                  <a:lnTo>
                    <a:pt x="21593" y="21568"/>
                  </a:lnTo>
                  <a:lnTo>
                    <a:pt x="18" y="21568"/>
                  </a:lnTo>
                  <a:lnTo>
                    <a:pt x="18" y="32"/>
                  </a:lnTo>
                  <a:lnTo>
                    <a:pt x="21582" y="32"/>
                  </a:lnTo>
                  <a:lnTo>
                    <a:pt x="21582" y="21587"/>
                  </a:lnTo>
                  <a:lnTo>
                    <a:pt x="21593" y="21587"/>
                  </a:lnTo>
                  <a:lnTo>
                    <a:pt x="21593" y="21568"/>
                  </a:lnTo>
                  <a:lnTo>
                    <a:pt x="21593" y="21587"/>
                  </a:lnTo>
                  <a:lnTo>
                    <a:pt x="21600" y="21587"/>
                  </a:lnTo>
                  <a:lnTo>
                    <a:pt x="2160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21587"/>
                  </a:lnTo>
                  <a:lnTo>
                    <a:pt x="21593" y="21587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891157">
                <a:defRPr sz="1700">
                  <a:solidFill>
                    <a:srgbClr val="575757"/>
                  </a:solidFill>
                </a:defRPr>
              </a:pPr>
              <a:endParaRPr sz="1695"/>
            </a:p>
          </p:txBody>
        </p:sp>
        <p:sp>
          <p:nvSpPr>
            <p:cNvPr id="301" name="Footnote measure"/>
            <p:cNvSpPr/>
            <p:nvPr/>
          </p:nvSpPr>
          <p:spPr>
            <a:xfrm>
              <a:off x="615562" y="6034127"/>
              <a:ext cx="10682649" cy="37087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>
                  <a:solidFill>
                    <a:srgbClr val="000000"/>
                  </a:solidFill>
                </a:defRPr>
              </a:pPr>
              <a:endParaRPr sz="2195"/>
            </a:p>
          </p:txBody>
        </p:sp>
        <p:sp>
          <p:nvSpPr>
            <p:cNvPr id="302" name="Whitespace measure"/>
            <p:cNvSpPr/>
            <p:nvPr/>
          </p:nvSpPr>
          <p:spPr>
            <a:xfrm>
              <a:off x="615562" y="1467094"/>
              <a:ext cx="10681700" cy="57132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>
                  <a:solidFill>
                    <a:srgbClr val="000000"/>
                  </a:solidFill>
                </a:defRPr>
              </a:pPr>
              <a:endParaRPr sz="2195"/>
            </a:p>
          </p:txBody>
        </p:sp>
        <p:grpSp>
          <p:nvGrpSpPr>
            <p:cNvPr id="308" name="Five column measure"/>
            <p:cNvGrpSpPr/>
            <p:nvPr/>
          </p:nvGrpSpPr>
          <p:grpSpPr>
            <a:xfrm>
              <a:off x="615562" y="5853407"/>
              <a:ext cx="10682649" cy="77916"/>
              <a:chOff x="0" y="0"/>
              <a:chExt cx="10682647" cy="77914"/>
            </a:xfrm>
          </p:grpSpPr>
          <p:sp>
            <p:nvSpPr>
              <p:cNvPr id="303" name="Rectangle 5"/>
              <p:cNvSpPr/>
              <p:nvPr/>
            </p:nvSpPr>
            <p:spPr>
              <a:xfrm>
                <a:off x="2199148" y="0"/>
                <a:ext cx="1886053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304" name="Rectangle 7"/>
              <p:cNvSpPr/>
              <p:nvPr/>
            </p:nvSpPr>
            <p:spPr>
              <a:xfrm>
                <a:off x="8790617" y="0"/>
                <a:ext cx="1892031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305" name="Rectangle 9"/>
              <p:cNvSpPr/>
              <p:nvPr/>
            </p:nvSpPr>
            <p:spPr>
              <a:xfrm>
                <a:off x="6588480" y="0"/>
                <a:ext cx="1892031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306" name="Rectangle 11"/>
              <p:cNvSpPr/>
              <p:nvPr/>
            </p:nvSpPr>
            <p:spPr>
              <a:xfrm>
                <a:off x="4395308" y="0"/>
                <a:ext cx="1883064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307" name="Rectangle 13"/>
              <p:cNvSpPr/>
              <p:nvPr/>
            </p:nvSpPr>
            <p:spPr>
              <a:xfrm>
                <a:off x="-1" y="0"/>
                <a:ext cx="1889042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</p:grpSp>
        <p:sp>
          <p:nvSpPr>
            <p:cNvPr id="309" name="Live area"/>
            <p:cNvSpPr/>
            <p:nvPr/>
          </p:nvSpPr>
          <p:spPr>
            <a:xfrm>
              <a:off x="615562" y="2038415"/>
              <a:ext cx="10682649" cy="3995714"/>
            </a:xfrm>
            <a:prstGeom prst="rect">
              <a:avLst/>
            </a:prstGeom>
            <a:noFill/>
            <a:ln w="9525" cap="flat">
              <a:solidFill>
                <a:srgbClr val="E71C57">
                  <a:alpha val="35000"/>
                </a:srgbClr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898"/>
                </a:spcBef>
                <a:defRPr sz="1100">
                  <a:solidFill>
                    <a:srgbClr val="FFFFFF"/>
                  </a:solidFill>
                </a:defRPr>
              </a:pPr>
              <a:endParaRPr sz="1097"/>
            </a:p>
          </p:txBody>
        </p:sp>
        <p:sp>
          <p:nvSpPr>
            <p:cNvPr id="310" name="Footnote example"/>
            <p:cNvSpPr txBox="1"/>
            <p:nvPr/>
          </p:nvSpPr>
          <p:spPr>
            <a:xfrm>
              <a:off x="616147" y="6053135"/>
              <a:ext cx="9918581" cy="3731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b">
              <a:spAutoFit/>
            </a:bodyPr>
            <a:lstStyle/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1. xxxx  2. xxxx  3. xxxx</a:t>
              </a:r>
            </a:p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Note: List footnotes in numerical order. Footnote numbers are not bracketed. Use 10pt font. Do not put a period at the end of the note or the source</a:t>
              </a:r>
              <a:endParaRPr sz="898">
                <a:solidFill>
                  <a:srgbClr val="000000"/>
                </a:solidFill>
              </a:endParaRPr>
            </a:p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5380947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8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" y="0"/>
            <a:ext cx="11910391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319" name="Rectangle 9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12700">
            <a:miter lim="400000"/>
          </a:ln>
        </p:spPr>
        <p:txBody>
          <a:bodyPr lIns="45600" rIns="45600" anchor="ctr"/>
          <a:lstStyle/>
          <a:p>
            <a:pPr algn="ctr">
              <a:defRPr sz="2200">
                <a:solidFill>
                  <a:srgbClr val="FFFFFF"/>
                </a:solidFill>
              </a:defRPr>
            </a:pPr>
            <a:endParaRPr sz="2195"/>
          </a:p>
        </p:txBody>
      </p:sp>
      <p:pic>
        <p:nvPicPr>
          <p:cNvPr id="320" name="Shape 54" descr="Shape 5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33497" y="4957431"/>
            <a:ext cx="3923261" cy="1281205"/>
          </a:xfrm>
          <a:prstGeom prst="rect">
            <a:avLst/>
          </a:prstGeom>
          <a:ln w="12700">
            <a:miter lim="400000"/>
          </a:ln>
        </p:spPr>
      </p:pic>
      <p:pic>
        <p:nvPicPr>
          <p:cNvPr id="321" name="Shape 56" descr="Shape 56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01258" y="550596"/>
            <a:ext cx="1315863" cy="2541665"/>
          </a:xfrm>
          <a:prstGeom prst="rect">
            <a:avLst/>
          </a:prstGeom>
          <a:ln w="12700">
            <a:miter lim="400000"/>
          </a:ln>
        </p:spPr>
      </p:pic>
      <p:sp>
        <p:nvSpPr>
          <p:cNvPr id="32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821664" y="1993159"/>
            <a:ext cx="5567578" cy="1366089"/>
          </a:xfrm>
          <a:prstGeom prst="rect">
            <a:avLst/>
          </a:prstGeom>
        </p:spPr>
        <p:txBody>
          <a:bodyPr anchor="t"/>
          <a:lstStyle>
            <a:lvl1pPr>
              <a:defRPr sz="3491" b="1"/>
            </a:lvl1pPr>
          </a:lstStyle>
          <a:p>
            <a:r>
              <a:t>Текст заголовка</a:t>
            </a:r>
          </a:p>
        </p:txBody>
      </p:sp>
      <p:sp>
        <p:nvSpPr>
          <p:cNvPr id="32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257482" y="6088594"/>
            <a:ext cx="279883" cy="276549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1190491">
              <a:defRPr sz="1197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19197609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31" name="Rectangle 8"/>
          <p:cNvSpPr/>
          <p:nvPr/>
        </p:nvSpPr>
        <p:spPr>
          <a:xfrm>
            <a:off x="0" y="-1"/>
            <a:ext cx="11912600" cy="1132160"/>
          </a:xfrm>
          <a:prstGeom prst="rect">
            <a:avLst/>
          </a:prstGeom>
          <a:solidFill>
            <a:schemeClr val="accent2">
              <a:lumOff val="21764"/>
            </a:schemeClr>
          </a:solidFill>
          <a:ln cap="rnd">
            <a:solidFill>
              <a:schemeClr val="accent2">
                <a:lumOff val="21764"/>
              </a:schemeClr>
            </a:solidFill>
          </a:ln>
        </p:spPr>
        <p:txBody>
          <a:bodyPr lIns="45600" rIns="45600" anchor="ctr"/>
          <a:lstStyle/>
          <a:p>
            <a:pPr algn="ctr"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33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403266"/>
            <a:ext cx="10662733" cy="325629"/>
          </a:xfrm>
          <a:prstGeom prst="rect">
            <a:avLst/>
          </a:prstGeom>
        </p:spPr>
        <p:txBody>
          <a:bodyPr/>
          <a:lstStyle>
            <a:lvl1pPr>
              <a:defRPr sz="2294"/>
            </a:lvl1pPr>
          </a:lstStyle>
          <a:p>
            <a:r>
              <a:t>Текст заголовка</a:t>
            </a:r>
          </a:p>
        </p:txBody>
      </p:sp>
      <p:pic>
        <p:nvPicPr>
          <p:cNvPr id="333" name="Picture 10" descr="Picture 10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4889408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41" name="Rectangle 6"/>
          <p:cNvSpPr/>
          <p:nvPr/>
        </p:nvSpPr>
        <p:spPr>
          <a:xfrm>
            <a:off x="0" y="-1283"/>
            <a:ext cx="4586822" cy="6719584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34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5563" y="2115007"/>
            <a:ext cx="3658200" cy="5306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Tx/>
              <a:buSzTx/>
              <a:buFontTx/>
              <a:buNone/>
              <a:defRPr sz="1496"/>
            </a:lvl1pPr>
            <a:lvl2pPr marL="0" indent="445578">
              <a:buClrTx/>
              <a:buSzTx/>
              <a:buFontTx/>
              <a:buNone/>
              <a:defRPr sz="1496"/>
            </a:lvl2pPr>
            <a:lvl3pPr marL="0" indent="891157">
              <a:buClrTx/>
              <a:buSzTx/>
              <a:buFontTx/>
              <a:buNone/>
              <a:defRPr sz="1496"/>
            </a:lvl3pPr>
            <a:lvl4pPr indent="1336736">
              <a:buClrTx/>
              <a:buSzTx/>
              <a:buFontTx/>
              <a:buNone/>
              <a:defRPr sz="1496"/>
            </a:lvl4pPr>
            <a:lvl5pPr indent="1782315">
              <a:buClrTx/>
              <a:buSzTx/>
              <a:buFontTx/>
              <a:buNone/>
              <a:defRPr sz="1496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4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1202053"/>
            <a:ext cx="3658200" cy="651257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3577664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Section header box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5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255300" y="2613693"/>
            <a:ext cx="9400022" cy="3135821"/>
          </a:xfrm>
          <a:prstGeom prst="rect">
            <a:avLst/>
          </a:prstGeom>
        </p:spPr>
        <p:txBody>
          <a:bodyPr lIns="137160" tIns="137160" rIns="137160" bIns="137160" anchor="b"/>
          <a:lstStyle>
            <a:lvl1pPr>
              <a:lnSpc>
                <a:spcPts val="5785"/>
              </a:lnSpc>
              <a:defRPr sz="5186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52" name="Rectangle 10"/>
          <p:cNvSpPr/>
          <p:nvPr/>
        </p:nvSpPr>
        <p:spPr>
          <a:xfrm>
            <a:off x="1251343" y="1395072"/>
            <a:ext cx="929912" cy="932334"/>
          </a:xfrm>
          <a:prstGeom prst="rect">
            <a:avLst/>
          </a:prstGeom>
          <a:ln w="10795">
            <a:solidFill>
              <a:srgbClr val="888888"/>
            </a:solidFill>
            <a:miter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</p:spTree>
    <p:extLst>
      <p:ext uri="{BB962C8B-B14F-4D97-AF65-F5344CB8AC3E}">
        <p14:creationId xmlns:p14="http://schemas.microsoft.com/office/powerpoint/2010/main" val="3025917775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Section header 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6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3748848"/>
            <a:ext cx="10686165" cy="1999621"/>
          </a:xfrm>
          <a:prstGeom prst="rect">
            <a:avLst/>
          </a:prstGeom>
        </p:spPr>
        <p:txBody>
          <a:bodyPr anchor="t"/>
          <a:lstStyle>
            <a:lvl1pPr>
              <a:defRPr sz="5186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61" name="Straight Connector 9"/>
          <p:cNvSpPr/>
          <p:nvPr/>
        </p:nvSpPr>
        <p:spPr>
          <a:xfrm>
            <a:off x="615564" y="3605053"/>
            <a:ext cx="11293703" cy="1"/>
          </a:xfrm>
          <a:prstGeom prst="line">
            <a:avLst/>
          </a:prstGeom>
          <a:ln w="19050">
            <a:solidFill>
              <a:srgbClr val="888888"/>
            </a:solidFill>
            <a:miter/>
          </a:ln>
        </p:spPr>
        <p:txBody>
          <a:bodyPr lIns="45600" rIns="45600"/>
          <a:lstStyle/>
          <a:p>
            <a:endParaRPr sz="1795"/>
          </a:p>
        </p:txBody>
      </p:sp>
    </p:spTree>
    <p:extLst>
      <p:ext uri="{BB962C8B-B14F-4D97-AF65-F5344CB8AC3E}">
        <p14:creationId xmlns:p14="http://schemas.microsoft.com/office/powerpoint/2010/main" val="168981029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4" name="Rectangle 7"/>
          <p:cNvSpPr/>
          <p:nvPr/>
        </p:nvSpPr>
        <p:spPr>
          <a:xfrm>
            <a:off x="0" y="-1283"/>
            <a:ext cx="4586822" cy="6719584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3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1512817"/>
            <a:ext cx="3373284" cy="1465325"/>
          </a:xfrm>
          <a:prstGeom prst="rect">
            <a:avLst/>
          </a:prstGeom>
        </p:spPr>
        <p:txBody>
          <a:bodyPr anchor="b"/>
          <a:lstStyle>
            <a:lvl1pPr>
              <a:defRPr sz="3092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79012058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rot="10800000" flipH="1">
            <a:off x="3971839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36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70" name="Rectangle 23"/>
          <p:cNvSpPr/>
          <p:nvPr/>
        </p:nvSpPr>
        <p:spPr>
          <a:xfrm>
            <a:off x="-1" y="0"/>
            <a:ext cx="3986021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37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4" y="2626488"/>
            <a:ext cx="3056201" cy="1465325"/>
          </a:xfrm>
          <a:prstGeom prst="rect">
            <a:avLst/>
          </a:prstGeom>
        </p:spPr>
        <p:txBody>
          <a:bodyPr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372" name="Picture 10" descr="Picture 10"/>
          <p:cNvPicPr>
            <a:picLocks noChangeAspect="1"/>
          </p:cNvPicPr>
          <p:nvPr/>
        </p:nvPicPr>
        <p:blipFill>
          <a:blip r:embed="rId3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38962295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9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rot="10800000" flipH="1">
            <a:off x="7001395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380" name="Rectangle 13"/>
          <p:cNvSpPr/>
          <p:nvPr/>
        </p:nvSpPr>
        <p:spPr>
          <a:xfrm>
            <a:off x="0" y="0"/>
            <a:ext cx="7007598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38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8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4" y="610114"/>
            <a:ext cx="6132692" cy="325629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383" name="Picture 10" descr="Picture 10"/>
          <p:cNvPicPr>
            <a:picLocks noChangeAspect="1"/>
          </p:cNvPicPr>
          <p:nvPr/>
        </p:nvPicPr>
        <p:blipFill>
          <a:blip r:embed="rId3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21762918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Four column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0" name="Picture 15" descr="Picture 15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rot="10800000" flipH="1">
            <a:off x="8822326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391" name="Rectangle 9"/>
          <p:cNvSpPr/>
          <p:nvPr/>
        </p:nvSpPr>
        <p:spPr>
          <a:xfrm>
            <a:off x="0" y="0"/>
            <a:ext cx="8827239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39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9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610114"/>
            <a:ext cx="7915925" cy="325629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394" name="Picture 10" descr="Picture 10"/>
          <p:cNvPicPr>
            <a:picLocks noChangeAspect="1"/>
          </p:cNvPicPr>
          <p:nvPr/>
        </p:nvPicPr>
        <p:blipFill>
          <a:blip r:embed="rId3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72788452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1" name="Picture 22" descr="Picture 22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3586939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40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4" y="2626488"/>
            <a:ext cx="3056201" cy="1465325"/>
          </a:xfrm>
          <a:prstGeom prst="rect">
            <a:avLst/>
          </a:prstGeom>
        </p:spPr>
        <p:txBody>
          <a:bodyPr/>
          <a:lstStyle>
            <a:lvl1pPr>
              <a:defRPr sz="2294"/>
            </a:lvl1pPr>
          </a:lstStyle>
          <a:p>
            <a:r>
              <a:t>Текст заголовка</a:t>
            </a:r>
          </a:p>
        </p:txBody>
      </p:sp>
      <p:sp>
        <p:nvSpPr>
          <p:cNvPr id="403" name="Rectangle 25"/>
          <p:cNvSpPr/>
          <p:nvPr/>
        </p:nvSpPr>
        <p:spPr>
          <a:xfrm>
            <a:off x="3987247" y="-1283"/>
            <a:ext cx="7925355" cy="671958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40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63284796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1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5559196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412" name="Rectangle 10"/>
          <p:cNvSpPr/>
          <p:nvPr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413" name="Picture Placeholder 18"/>
          <p:cNvSpPr>
            <a:spLocks noGrp="1"/>
          </p:cNvSpPr>
          <p:nvPr>
            <p:ph type="pic" idx="13"/>
          </p:nvPr>
        </p:nvSpPr>
        <p:spPr>
          <a:xfrm>
            <a:off x="5952414" y="0"/>
            <a:ext cx="5960186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1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1749226"/>
            <a:ext cx="4287834" cy="3219849"/>
          </a:xfrm>
          <a:prstGeom prst="rect">
            <a:avLst/>
          </a:prstGeom>
        </p:spPr>
        <p:txBody>
          <a:bodyPr/>
          <a:lstStyle>
            <a:lvl1pPr>
              <a:defRPr sz="4189"/>
            </a:lvl1pPr>
          </a:lstStyle>
          <a:p>
            <a:r>
              <a:t>Текст заголовка</a:t>
            </a:r>
          </a:p>
        </p:txBody>
      </p:sp>
      <p:sp>
        <p:nvSpPr>
          <p:cNvPr id="41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6912847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2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7240041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423" name="Rectangle 10"/>
          <p:cNvSpPr/>
          <p:nvPr/>
        </p:nvSpPr>
        <p:spPr>
          <a:xfrm>
            <a:off x="7640346" y="0"/>
            <a:ext cx="4272256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424" name="Picture Placeholder 5"/>
          <p:cNvSpPr>
            <a:spLocks noGrp="1"/>
          </p:cNvSpPr>
          <p:nvPr>
            <p:ph type="pic" sz="half" idx="13"/>
          </p:nvPr>
        </p:nvSpPr>
        <p:spPr>
          <a:xfrm>
            <a:off x="7640817" y="0"/>
            <a:ext cx="4271785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2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6477" y="1749226"/>
            <a:ext cx="6104379" cy="3219849"/>
          </a:xfrm>
          <a:prstGeom prst="rect">
            <a:avLst/>
          </a:prstGeom>
        </p:spPr>
        <p:txBody>
          <a:bodyPr/>
          <a:lstStyle>
            <a:lvl1pPr>
              <a:defRPr sz="4189"/>
            </a:lvl1pPr>
          </a:lstStyle>
          <a:p>
            <a:r>
              <a:t>Текст заголовка</a:t>
            </a:r>
          </a:p>
        </p:txBody>
      </p:sp>
      <p:sp>
        <p:nvSpPr>
          <p:cNvPr id="42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67692612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Freeform 14"/>
          <p:cNvSpPr/>
          <p:nvPr/>
        </p:nvSpPr>
        <p:spPr>
          <a:xfrm>
            <a:off x="1489" y="1284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43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3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2707895"/>
            <a:ext cx="2421838" cy="1287539"/>
          </a:xfrm>
          <a:prstGeom prst="rect">
            <a:avLst/>
          </a:prstGeom>
        </p:spPr>
        <p:txBody>
          <a:bodyPr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436" name="Picture 11" descr="Picture 11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3060656" y="3517261"/>
            <a:ext cx="1333898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9065"/>
                </a:lnTo>
                <a:lnTo>
                  <a:pt x="14389" y="0"/>
                </a:lnTo>
                <a:lnTo>
                  <a:pt x="0" y="0"/>
                </a:lnTo>
                <a:close/>
                <a:moveTo>
                  <a:pt x="14550" y="0"/>
                </a:moveTo>
                <a:lnTo>
                  <a:pt x="2057" y="20865"/>
                </a:lnTo>
                <a:lnTo>
                  <a:pt x="0" y="20845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5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01470328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Freeform 14"/>
          <p:cNvSpPr/>
          <p:nvPr/>
        </p:nvSpPr>
        <p:spPr>
          <a:xfrm>
            <a:off x="1489" y="1284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6E6F73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44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2707895"/>
            <a:ext cx="2421838" cy="1287539"/>
          </a:xfrm>
          <a:prstGeom prst="rect">
            <a:avLst/>
          </a:prstGeom>
        </p:spPr>
        <p:txBody>
          <a:bodyPr/>
          <a:lstStyle>
            <a:lvl1pPr>
              <a:defRPr sz="2294"/>
            </a:lvl1pPr>
          </a:lstStyle>
          <a:p>
            <a:r>
              <a:t>Текст заголовка</a:t>
            </a:r>
          </a:p>
        </p:txBody>
      </p:sp>
      <p:sp>
        <p:nvSpPr>
          <p:cNvPr id="44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446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6216" r="1" b="7714"/>
          <a:stretch>
            <a:fillRect/>
          </a:stretch>
        </p:blipFill>
        <p:spPr>
          <a:xfrm rot="120000">
            <a:off x="2124805" y="3333511"/>
            <a:ext cx="2632870" cy="33912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214" y="21600"/>
                </a:lnTo>
                <a:lnTo>
                  <a:pt x="14808" y="78"/>
                </a:lnTo>
                <a:lnTo>
                  <a:pt x="15186" y="38"/>
                </a:lnTo>
                <a:lnTo>
                  <a:pt x="13402" y="21524"/>
                </a:lnTo>
                <a:lnTo>
                  <a:pt x="1062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49948586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54" name="Pentagon 3"/>
          <p:cNvSpPr/>
          <p:nvPr/>
        </p:nvSpPr>
        <p:spPr>
          <a:xfrm>
            <a:off x="0" y="0"/>
            <a:ext cx="5302555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45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1749226"/>
            <a:ext cx="3969142" cy="3219849"/>
          </a:xfrm>
          <a:prstGeom prst="rect">
            <a:avLst/>
          </a:prstGeom>
        </p:spPr>
        <p:txBody>
          <a:bodyPr/>
          <a:lstStyle>
            <a:lvl1pPr>
              <a:defRPr sz="4189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456" name="Picture 10" descr="Picture 10"/>
          <p:cNvPicPr>
            <a:picLocks noChangeAspect="1"/>
          </p:cNvPicPr>
          <p:nvPr/>
        </p:nvPicPr>
        <p:blipFill>
          <a:blip r:embed="rId2">
            <a:extLst/>
          </a:blip>
          <a:srcRect/>
          <a:stretch>
            <a:fillRect/>
          </a:stretch>
        </p:blipFill>
        <p:spPr>
          <a:xfrm>
            <a:off x="4476532" y="3325247"/>
            <a:ext cx="1268810" cy="34991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5980"/>
                </a:lnTo>
                <a:lnTo>
                  <a:pt x="13992" y="132"/>
                </a:lnTo>
                <a:lnTo>
                  <a:pt x="2324" y="20963"/>
                </a:lnTo>
                <a:lnTo>
                  <a:pt x="0" y="20958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06997816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Pentagon 3"/>
          <p:cNvSpPr/>
          <p:nvPr/>
        </p:nvSpPr>
        <p:spPr>
          <a:xfrm>
            <a:off x="0" y="0"/>
            <a:ext cx="5302555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6E6F73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46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1749226"/>
            <a:ext cx="3969142" cy="3219849"/>
          </a:xfrm>
          <a:prstGeom prst="rect">
            <a:avLst/>
          </a:prstGeom>
        </p:spPr>
        <p:txBody>
          <a:bodyPr/>
          <a:lstStyle>
            <a:lvl1pPr>
              <a:defRPr sz="4189"/>
            </a:lvl1pPr>
          </a:lstStyle>
          <a:p>
            <a:r>
              <a:t>Текст заголовка</a:t>
            </a:r>
          </a:p>
        </p:txBody>
      </p:sp>
      <p:sp>
        <p:nvSpPr>
          <p:cNvPr id="46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466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7562" r="1" b="6870"/>
          <a:stretch>
            <a:fillRect/>
          </a:stretch>
        </p:blipFill>
        <p:spPr>
          <a:xfrm>
            <a:off x="3496063" y="3346709"/>
            <a:ext cx="2632869" cy="33714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72" y="21600"/>
                </a:lnTo>
                <a:lnTo>
                  <a:pt x="14271" y="2278"/>
                </a:lnTo>
                <a:lnTo>
                  <a:pt x="14248" y="2276"/>
                </a:lnTo>
                <a:lnTo>
                  <a:pt x="14821" y="79"/>
                </a:lnTo>
                <a:lnTo>
                  <a:pt x="14798" y="0"/>
                </a:lnTo>
                <a:lnTo>
                  <a:pt x="0" y="0"/>
                </a:lnTo>
                <a:close/>
                <a:moveTo>
                  <a:pt x="16355" y="0"/>
                </a:moveTo>
                <a:lnTo>
                  <a:pt x="16215" y="2382"/>
                </a:lnTo>
                <a:lnTo>
                  <a:pt x="14564" y="2293"/>
                </a:lnTo>
                <a:lnTo>
                  <a:pt x="12109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355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838486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 box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255300" y="2613693"/>
            <a:ext cx="9400022" cy="3135821"/>
          </a:xfrm>
          <a:prstGeom prst="rect">
            <a:avLst/>
          </a:prstGeom>
          <a:ln w="9525">
            <a:solidFill>
              <a:srgbClr val="FFFFFF"/>
            </a:solidFill>
            <a:round/>
          </a:ln>
        </p:spPr>
        <p:txBody>
          <a:bodyPr lIns="137160" tIns="137160" rIns="137160" bIns="137160" anchor="b"/>
          <a:lstStyle>
            <a:lvl1pPr>
              <a:lnSpc>
                <a:spcPts val="5785"/>
              </a:lnSpc>
              <a:defRPr sz="5186"/>
            </a:lvl1pPr>
          </a:lstStyle>
          <a:p>
            <a:r>
              <a:t>Текст заголовка</a:t>
            </a:r>
          </a:p>
        </p:txBody>
      </p:sp>
      <p:sp>
        <p:nvSpPr>
          <p:cNvPr id="4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4" name="Rectangle 58"/>
          <p:cNvSpPr/>
          <p:nvPr/>
        </p:nvSpPr>
        <p:spPr>
          <a:xfrm>
            <a:off x="1255301" y="1399040"/>
            <a:ext cx="925957" cy="928369"/>
          </a:xfrm>
          <a:prstGeom prst="rect">
            <a:avLst/>
          </a:prstGeom>
          <a:ln w="10795">
            <a:solidFill>
              <a:srgbClr val="FFFFFF"/>
            </a:solidFill>
            <a:miter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</p:spTree>
    <p:extLst>
      <p:ext uri="{BB962C8B-B14F-4D97-AF65-F5344CB8AC3E}">
        <p14:creationId xmlns:p14="http://schemas.microsoft.com/office/powerpoint/2010/main" val="2761369877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Pentagon 8"/>
          <p:cNvSpPr/>
          <p:nvPr/>
        </p:nvSpPr>
        <p:spPr>
          <a:xfrm>
            <a:off x="0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47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610114"/>
            <a:ext cx="4639019" cy="325629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7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476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5274106" y="3516484"/>
            <a:ext cx="1333898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454"/>
                </a:lnTo>
                <a:lnTo>
                  <a:pt x="14370" y="0"/>
                </a:lnTo>
                <a:lnTo>
                  <a:pt x="0" y="0"/>
                </a:lnTo>
                <a:close/>
                <a:moveTo>
                  <a:pt x="14563" y="0"/>
                </a:moveTo>
                <a:lnTo>
                  <a:pt x="2005" y="21204"/>
                </a:lnTo>
                <a:lnTo>
                  <a:pt x="0" y="21204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63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96378258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Pentagon 8"/>
          <p:cNvSpPr/>
          <p:nvPr/>
        </p:nvSpPr>
        <p:spPr>
          <a:xfrm>
            <a:off x="0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6E6F73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48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610114"/>
            <a:ext cx="4639019" cy="325629"/>
          </a:xfrm>
          <a:prstGeom prst="rect">
            <a:avLst/>
          </a:prstGeom>
        </p:spPr>
        <p:txBody>
          <a:bodyPr anchor="t"/>
          <a:lstStyle>
            <a:lvl1pPr>
              <a:defRPr sz="2294"/>
            </a:lvl1pPr>
          </a:lstStyle>
          <a:p>
            <a:r>
              <a:t>Текст заголовка</a:t>
            </a:r>
          </a:p>
        </p:txBody>
      </p:sp>
      <p:sp>
        <p:nvSpPr>
          <p:cNvPr id="48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486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t="9052" r="1" b="6867"/>
          <a:stretch>
            <a:fillRect/>
          </a:stretch>
        </p:blipFill>
        <p:spPr>
          <a:xfrm rot="120000">
            <a:off x="4357961" y="3338384"/>
            <a:ext cx="2632869" cy="33861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59" y="21600"/>
                </a:lnTo>
                <a:lnTo>
                  <a:pt x="14762" y="0"/>
                </a:lnTo>
                <a:lnTo>
                  <a:pt x="0" y="0"/>
                </a:lnTo>
                <a:close/>
                <a:moveTo>
                  <a:pt x="17126" y="0"/>
                </a:moveTo>
                <a:lnTo>
                  <a:pt x="15349" y="2663"/>
                </a:lnTo>
                <a:lnTo>
                  <a:pt x="14883" y="2704"/>
                </a:lnTo>
                <a:lnTo>
                  <a:pt x="1568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7126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37437138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" name="Freeform 18"/>
          <p:cNvSpPr/>
          <p:nvPr/>
        </p:nvSpPr>
        <p:spPr>
          <a:xfrm>
            <a:off x="0" y="1"/>
            <a:ext cx="8252680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49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9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610114"/>
            <a:ext cx="6111166" cy="325629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496" name="Picture 10" descr="Picture 10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7318685" y="3516484"/>
            <a:ext cx="1333897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2026"/>
                </a:lnTo>
                <a:lnTo>
                  <a:pt x="13490" y="0"/>
                </a:lnTo>
                <a:lnTo>
                  <a:pt x="0" y="0"/>
                </a:lnTo>
                <a:close/>
                <a:moveTo>
                  <a:pt x="14087" y="0"/>
                </a:moveTo>
                <a:lnTo>
                  <a:pt x="13772" y="548"/>
                </a:lnTo>
                <a:lnTo>
                  <a:pt x="14203" y="0"/>
                </a:lnTo>
                <a:lnTo>
                  <a:pt x="14087" y="0"/>
                </a:lnTo>
                <a:close/>
                <a:moveTo>
                  <a:pt x="14421" y="0"/>
                </a:moveTo>
                <a:lnTo>
                  <a:pt x="2050" y="21507"/>
                </a:lnTo>
                <a:lnTo>
                  <a:pt x="1761" y="21507"/>
                </a:lnTo>
                <a:lnTo>
                  <a:pt x="1709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421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46933697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Freeform 18"/>
          <p:cNvSpPr/>
          <p:nvPr/>
        </p:nvSpPr>
        <p:spPr>
          <a:xfrm>
            <a:off x="0" y="1"/>
            <a:ext cx="8252680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50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610114"/>
            <a:ext cx="6111166" cy="325629"/>
          </a:xfrm>
          <a:prstGeom prst="rect">
            <a:avLst/>
          </a:prstGeom>
        </p:spPr>
        <p:txBody>
          <a:bodyPr anchor="t"/>
          <a:lstStyle>
            <a:lvl1pPr>
              <a:defRPr sz="2294"/>
            </a:lvl1pPr>
          </a:lstStyle>
          <a:p>
            <a:r>
              <a:t>Текст заголовка</a:t>
            </a:r>
          </a:p>
        </p:txBody>
      </p:sp>
      <p:sp>
        <p:nvSpPr>
          <p:cNvPr id="50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506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9052" r="1" b="6867"/>
          <a:stretch>
            <a:fillRect/>
          </a:stretch>
        </p:blipFill>
        <p:spPr>
          <a:xfrm rot="120000">
            <a:off x="6417121" y="3338384"/>
            <a:ext cx="2632869" cy="33861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30" y="21600"/>
                </a:lnTo>
                <a:lnTo>
                  <a:pt x="14632" y="0"/>
                </a:lnTo>
                <a:lnTo>
                  <a:pt x="0" y="0"/>
                </a:lnTo>
                <a:close/>
                <a:moveTo>
                  <a:pt x="16579" y="0"/>
                </a:moveTo>
                <a:lnTo>
                  <a:pt x="11503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579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04744203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1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3748390"/>
            <a:ext cx="10682649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785"/>
              </a:lnSpc>
              <a:defRPr sz="5186"/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52652470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22" name="Rectangle 5"/>
          <p:cNvSpPr/>
          <p:nvPr/>
        </p:nvSpPr>
        <p:spPr>
          <a:xfrm>
            <a:off x="615561" y="612734"/>
            <a:ext cx="911316" cy="913690"/>
          </a:xfrm>
          <a:prstGeom prst="rect">
            <a:avLst/>
          </a:prstGeom>
          <a:ln w="10795">
            <a:solidFill>
              <a:srgbClr val="888888"/>
            </a:solidFill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52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3748390"/>
            <a:ext cx="10682649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785"/>
              </a:lnSpc>
              <a:defRPr sz="5186">
                <a:solidFill>
                  <a:srgbClr val="888888"/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36042912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531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r="3623" b="1258"/>
          <a:stretch>
            <a:fillRect/>
          </a:stretch>
        </p:blipFill>
        <p:spPr>
          <a:xfrm rot="16200000" flipH="1">
            <a:off x="6640624" y="112217"/>
            <a:ext cx="753666" cy="9790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984"/>
                </a:lnTo>
                <a:lnTo>
                  <a:pt x="6085" y="2155"/>
                </a:lnTo>
                <a:lnTo>
                  <a:pt x="5551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532" name="Freeform 58"/>
          <p:cNvSpPr/>
          <p:nvPr/>
        </p:nvSpPr>
        <p:spPr>
          <a:xfrm flipH="1">
            <a:off x="1" y="0"/>
            <a:ext cx="11912601" cy="57478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18208"/>
                </a:lnTo>
                <a:lnTo>
                  <a:pt x="16019" y="18208"/>
                </a:lnTo>
                <a:lnTo>
                  <a:pt x="17671" y="21600"/>
                </a:lnTo>
                <a:lnTo>
                  <a:pt x="17671" y="18208"/>
                </a:lnTo>
                <a:lnTo>
                  <a:pt x="21600" y="18208"/>
                </a:lnTo>
                <a:close/>
              </a:path>
            </a:pathLst>
          </a:custGeom>
          <a:solidFill>
            <a:srgbClr val="6E6F73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2200">
                <a:solidFill>
                  <a:srgbClr val="000000"/>
                </a:solidFill>
              </a:defRPr>
            </a:pPr>
            <a:endParaRPr sz="2195"/>
          </a:p>
        </p:txBody>
      </p:sp>
    </p:spTree>
    <p:extLst>
      <p:ext uri="{BB962C8B-B14F-4D97-AF65-F5344CB8AC3E}">
        <p14:creationId xmlns:p14="http://schemas.microsoft.com/office/powerpoint/2010/main" val="2934810836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4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610114"/>
            <a:ext cx="10682649" cy="325629"/>
          </a:xfrm>
          <a:prstGeom prst="rect">
            <a:avLst/>
          </a:prstGeom>
        </p:spPr>
        <p:txBody>
          <a:bodyPr anchor="t"/>
          <a:lstStyle>
            <a:lvl1pPr>
              <a:defRPr sz="2294"/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37009633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" name="Freeform 12"/>
          <p:cNvSpPr/>
          <p:nvPr/>
        </p:nvSpPr>
        <p:spPr>
          <a:xfrm>
            <a:off x="0" y="1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548" name="Freeform 12"/>
          <p:cNvSpPr/>
          <p:nvPr/>
        </p:nvSpPr>
        <p:spPr>
          <a:xfrm>
            <a:off x="0" y="1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549" name="TextBox 19"/>
          <p:cNvSpPr txBox="1"/>
          <p:nvPr/>
        </p:nvSpPr>
        <p:spPr>
          <a:xfrm>
            <a:off x="615561" y="2572463"/>
            <a:ext cx="2915674" cy="1631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ct val="105999"/>
              </a:lnSpc>
              <a:spcBef>
                <a:spcPts val="600"/>
              </a:spcBef>
              <a:defRPr sz="5200"/>
            </a:lvl1pPr>
          </a:lstStyle>
          <a:p>
            <a:r>
              <a:rPr sz="5186"/>
              <a:t>Table of contents</a:t>
            </a:r>
          </a:p>
        </p:txBody>
      </p:sp>
      <p:sp>
        <p:nvSpPr>
          <p:cNvPr id="55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551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3037398" y="3513685"/>
            <a:ext cx="1333898" cy="3313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263"/>
                </a:lnTo>
                <a:lnTo>
                  <a:pt x="14704" y="0"/>
                </a:lnTo>
                <a:lnTo>
                  <a:pt x="0" y="0"/>
                </a:lnTo>
                <a:close/>
                <a:moveTo>
                  <a:pt x="14916" y="0"/>
                </a:moveTo>
                <a:lnTo>
                  <a:pt x="203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916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46008549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98765237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 line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3748848"/>
            <a:ext cx="10686165" cy="1999621"/>
          </a:xfrm>
          <a:prstGeom prst="rect">
            <a:avLst/>
          </a:prstGeom>
        </p:spPr>
        <p:txBody>
          <a:bodyPr anchor="t"/>
          <a:lstStyle>
            <a:lvl1pPr>
              <a:defRPr sz="5186"/>
            </a:lvl1pPr>
          </a:lstStyle>
          <a:p>
            <a:r>
              <a:t>Текст заголовка</a:t>
            </a:r>
          </a:p>
        </p:txBody>
      </p:sp>
      <p:sp>
        <p:nvSpPr>
          <p:cNvPr id="53" name="Straight Connector 147"/>
          <p:cNvSpPr/>
          <p:nvPr/>
        </p:nvSpPr>
        <p:spPr>
          <a:xfrm>
            <a:off x="604714" y="3605053"/>
            <a:ext cx="11311016" cy="1"/>
          </a:xfrm>
          <a:prstGeom prst="line">
            <a:avLst/>
          </a:prstGeom>
          <a:ln w="19050">
            <a:solidFill>
              <a:srgbClr val="FFFFFF"/>
            </a:solidFill>
            <a:miter/>
          </a:ln>
        </p:spPr>
        <p:txBody>
          <a:bodyPr lIns="45600" rIns="45600"/>
          <a:lstStyle/>
          <a:p>
            <a:endParaRPr sz="1795"/>
          </a:p>
        </p:txBody>
      </p:sp>
    </p:spTree>
    <p:extLst>
      <p:ext uri="{BB962C8B-B14F-4D97-AF65-F5344CB8AC3E}">
        <p14:creationId xmlns:p14="http://schemas.microsoft.com/office/powerpoint/2010/main" val="1545705663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8009560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Disclaim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22978577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9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" y="0"/>
            <a:ext cx="11910391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580" name="Rectangle 8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12700">
            <a:miter lim="400000"/>
          </a:ln>
        </p:spPr>
        <p:txBody>
          <a:bodyPr lIns="45600" rIns="45600" anchor="ctr"/>
          <a:lstStyle/>
          <a:p>
            <a:pPr algn="ctr">
              <a:defRPr sz="2200">
                <a:solidFill>
                  <a:srgbClr val="FFFFFF"/>
                </a:solidFill>
              </a:defRPr>
            </a:pPr>
            <a:endParaRPr sz="2195"/>
          </a:p>
        </p:txBody>
      </p:sp>
      <p:pic>
        <p:nvPicPr>
          <p:cNvPr id="581" name="Shape 54" descr="Shape 5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33497" y="4957431"/>
            <a:ext cx="3923261" cy="1281205"/>
          </a:xfrm>
          <a:prstGeom prst="rect">
            <a:avLst/>
          </a:prstGeom>
          <a:ln w="12700">
            <a:miter lim="400000"/>
          </a:ln>
        </p:spPr>
      </p:pic>
      <p:pic>
        <p:nvPicPr>
          <p:cNvPr id="582" name="Shape 56" descr="Shape 56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01258" y="550596"/>
            <a:ext cx="1315863" cy="2541665"/>
          </a:xfrm>
          <a:prstGeom prst="rect">
            <a:avLst/>
          </a:prstGeom>
          <a:ln w="12700">
            <a:miter lim="400000"/>
          </a:ln>
        </p:spPr>
      </p:pic>
      <p:sp>
        <p:nvSpPr>
          <p:cNvPr id="58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257482" y="6088594"/>
            <a:ext cx="279883" cy="276549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1190491">
              <a:defRPr sz="1197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43621587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Layout gu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grpSp>
        <p:nvGrpSpPr>
          <p:cNvPr id="636" name="Group 143"/>
          <p:cNvGrpSpPr/>
          <p:nvPr/>
        </p:nvGrpSpPr>
        <p:grpSpPr>
          <a:xfrm>
            <a:off x="-587" y="-3"/>
            <a:ext cx="11914362" cy="6718304"/>
            <a:chOff x="-1" y="-1"/>
            <a:chExt cx="11914361" cy="6718302"/>
          </a:xfrm>
        </p:grpSpPr>
        <p:sp>
          <p:nvSpPr>
            <p:cNvPr id="591" name="No fly zone"/>
            <p:cNvSpPr/>
            <p:nvPr/>
          </p:nvSpPr>
          <p:spPr>
            <a:xfrm>
              <a:off x="586" y="-1"/>
              <a:ext cx="11913774" cy="67183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6" y="1962"/>
                  </a:moveTo>
                  <a:lnTo>
                    <a:pt x="1116" y="19403"/>
                  </a:lnTo>
                  <a:lnTo>
                    <a:pt x="20482" y="19403"/>
                  </a:lnTo>
                  <a:lnTo>
                    <a:pt x="20482" y="1962"/>
                  </a:lnTo>
                  <a:close/>
                  <a:moveTo>
                    <a:pt x="0" y="0"/>
                  </a:moveTo>
                  <a:lnTo>
                    <a:pt x="21600" y="0"/>
                  </a:lnTo>
                  <a:lnTo>
                    <a:pt x="21600" y="1962"/>
                  </a:lnTo>
                  <a:lnTo>
                    <a:pt x="21598" y="1962"/>
                  </a:lnTo>
                  <a:lnTo>
                    <a:pt x="21598" y="19403"/>
                  </a:lnTo>
                  <a:lnTo>
                    <a:pt x="21600" y="19403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1962"/>
                  </a:lnTo>
                  <a:lnTo>
                    <a:pt x="0" y="1962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/>
              </a:pPr>
              <a:endParaRPr sz="2195"/>
            </a:p>
          </p:txBody>
        </p:sp>
        <p:grpSp>
          <p:nvGrpSpPr>
            <p:cNvPr id="612" name="Baselines / anchors"/>
            <p:cNvGrpSpPr/>
            <p:nvPr/>
          </p:nvGrpSpPr>
          <p:grpSpPr>
            <a:xfrm>
              <a:off x="-1" y="610114"/>
              <a:ext cx="11913774" cy="5424014"/>
              <a:chOff x="0" y="0"/>
              <a:chExt cx="11913772" cy="5424013"/>
            </a:xfrm>
          </p:grpSpPr>
          <p:sp>
            <p:nvSpPr>
              <p:cNvPr id="592" name="Straight Connector 169"/>
              <p:cNvSpPr/>
              <p:nvPr/>
            </p:nvSpPr>
            <p:spPr>
              <a:xfrm>
                <a:off x="0" y="-1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593" name="Straight Connector 170"/>
              <p:cNvSpPr/>
              <p:nvPr/>
            </p:nvSpPr>
            <p:spPr>
              <a:xfrm>
                <a:off x="0" y="285474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594" name="Straight Connector 171"/>
              <p:cNvSpPr/>
              <p:nvPr/>
            </p:nvSpPr>
            <p:spPr>
              <a:xfrm>
                <a:off x="0" y="57094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595" name="Straight Connector 172"/>
              <p:cNvSpPr/>
              <p:nvPr/>
            </p:nvSpPr>
            <p:spPr>
              <a:xfrm>
                <a:off x="0" y="85697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596" name="Straight Connector 173"/>
              <p:cNvSpPr/>
              <p:nvPr/>
            </p:nvSpPr>
            <p:spPr>
              <a:xfrm>
                <a:off x="0" y="114189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597" name="Straight Connector 174"/>
              <p:cNvSpPr/>
              <p:nvPr/>
            </p:nvSpPr>
            <p:spPr>
              <a:xfrm>
                <a:off x="0" y="1427374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598" name="Straight Connector 175"/>
              <p:cNvSpPr/>
              <p:nvPr/>
            </p:nvSpPr>
            <p:spPr>
              <a:xfrm>
                <a:off x="0" y="171284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599" name="Straight Connector 176"/>
              <p:cNvSpPr/>
              <p:nvPr/>
            </p:nvSpPr>
            <p:spPr>
              <a:xfrm>
                <a:off x="0" y="199832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00" name="Straight Connector 177"/>
              <p:cNvSpPr/>
              <p:nvPr/>
            </p:nvSpPr>
            <p:spPr>
              <a:xfrm>
                <a:off x="0" y="228379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01" name="Straight Connector 178"/>
              <p:cNvSpPr/>
              <p:nvPr/>
            </p:nvSpPr>
            <p:spPr>
              <a:xfrm>
                <a:off x="0" y="256927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02" name="Straight Connector 179"/>
              <p:cNvSpPr/>
              <p:nvPr/>
            </p:nvSpPr>
            <p:spPr>
              <a:xfrm>
                <a:off x="0" y="285474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03" name="Straight Connector 180"/>
              <p:cNvSpPr/>
              <p:nvPr/>
            </p:nvSpPr>
            <p:spPr>
              <a:xfrm>
                <a:off x="0" y="314022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04" name="Straight Connector 181"/>
              <p:cNvSpPr/>
              <p:nvPr/>
            </p:nvSpPr>
            <p:spPr>
              <a:xfrm>
                <a:off x="0" y="342569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05" name="Straight Connector 182"/>
              <p:cNvSpPr/>
              <p:nvPr/>
            </p:nvSpPr>
            <p:spPr>
              <a:xfrm>
                <a:off x="0" y="371117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06" name="Straight Connector 183"/>
              <p:cNvSpPr/>
              <p:nvPr/>
            </p:nvSpPr>
            <p:spPr>
              <a:xfrm>
                <a:off x="0" y="399664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07" name="Straight Connector 184"/>
              <p:cNvSpPr/>
              <p:nvPr/>
            </p:nvSpPr>
            <p:spPr>
              <a:xfrm>
                <a:off x="0" y="4282122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08" name="Straight Connector 185"/>
              <p:cNvSpPr/>
              <p:nvPr/>
            </p:nvSpPr>
            <p:spPr>
              <a:xfrm>
                <a:off x="0" y="456759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09" name="Straight Connector 186"/>
              <p:cNvSpPr/>
              <p:nvPr/>
            </p:nvSpPr>
            <p:spPr>
              <a:xfrm>
                <a:off x="0" y="4853072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10" name="Straight Connector 187"/>
              <p:cNvSpPr/>
              <p:nvPr/>
            </p:nvSpPr>
            <p:spPr>
              <a:xfrm>
                <a:off x="0" y="513854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611" name="Straight Connector 188"/>
              <p:cNvSpPr/>
              <p:nvPr/>
            </p:nvSpPr>
            <p:spPr>
              <a:xfrm>
                <a:off x="0" y="542401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</p:grpSp>
        <p:grpSp>
          <p:nvGrpSpPr>
            <p:cNvPr id="624" name="Gutter space"/>
            <p:cNvGrpSpPr/>
            <p:nvPr/>
          </p:nvGrpSpPr>
          <p:grpSpPr>
            <a:xfrm>
              <a:off x="1248321" y="610849"/>
              <a:ext cx="9417131" cy="5424256"/>
              <a:chOff x="0" y="0"/>
              <a:chExt cx="9417129" cy="5424254"/>
            </a:xfrm>
          </p:grpSpPr>
          <p:sp>
            <p:nvSpPr>
              <p:cNvPr id="613" name="Rectangle 34"/>
              <p:cNvSpPr/>
              <p:nvPr/>
            </p:nvSpPr>
            <p:spPr>
              <a:xfrm>
                <a:off x="5481437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14" name="Rectangle 35"/>
              <p:cNvSpPr/>
              <p:nvPr/>
            </p:nvSpPr>
            <p:spPr>
              <a:xfrm>
                <a:off x="7308584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15" name="Rectangle 36"/>
              <p:cNvSpPr/>
              <p:nvPr/>
            </p:nvSpPr>
            <p:spPr>
              <a:xfrm>
                <a:off x="6395010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16" name="Rectangle 37"/>
              <p:cNvSpPr/>
              <p:nvPr/>
            </p:nvSpPr>
            <p:spPr>
              <a:xfrm>
                <a:off x="8222157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17" name="Rectangle 38"/>
              <p:cNvSpPr/>
              <p:nvPr/>
            </p:nvSpPr>
            <p:spPr>
              <a:xfrm>
                <a:off x="9135729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18" name="Rectangle 39"/>
              <p:cNvSpPr/>
              <p:nvPr/>
            </p:nvSpPr>
            <p:spPr>
              <a:xfrm>
                <a:off x="4567864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19" name="Rectangle 40"/>
              <p:cNvSpPr/>
              <p:nvPr/>
            </p:nvSpPr>
            <p:spPr>
              <a:xfrm>
                <a:off x="0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20" name="Rectangle 41"/>
              <p:cNvSpPr/>
              <p:nvPr/>
            </p:nvSpPr>
            <p:spPr>
              <a:xfrm>
                <a:off x="913573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21" name="Rectangle 42"/>
              <p:cNvSpPr/>
              <p:nvPr/>
            </p:nvSpPr>
            <p:spPr>
              <a:xfrm>
                <a:off x="1827146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22" name="Rectangle 43"/>
              <p:cNvSpPr/>
              <p:nvPr/>
            </p:nvSpPr>
            <p:spPr>
              <a:xfrm>
                <a:off x="2740718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23" name="Rectangle 44"/>
              <p:cNvSpPr/>
              <p:nvPr/>
            </p:nvSpPr>
            <p:spPr>
              <a:xfrm>
                <a:off x="3654292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</p:grpSp>
        <p:sp>
          <p:nvSpPr>
            <p:cNvPr id="625" name="Slide edges"/>
            <p:cNvSpPr/>
            <p:nvPr/>
          </p:nvSpPr>
          <p:spPr>
            <a:xfrm>
              <a:off x="-1" y="0"/>
              <a:ext cx="11913774" cy="67183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593" y="21587"/>
                  </a:moveTo>
                  <a:lnTo>
                    <a:pt x="21593" y="21568"/>
                  </a:lnTo>
                  <a:lnTo>
                    <a:pt x="18" y="21568"/>
                  </a:lnTo>
                  <a:lnTo>
                    <a:pt x="18" y="32"/>
                  </a:lnTo>
                  <a:lnTo>
                    <a:pt x="21582" y="32"/>
                  </a:lnTo>
                  <a:lnTo>
                    <a:pt x="21582" y="21587"/>
                  </a:lnTo>
                  <a:lnTo>
                    <a:pt x="21593" y="21587"/>
                  </a:lnTo>
                  <a:lnTo>
                    <a:pt x="21593" y="21568"/>
                  </a:lnTo>
                  <a:lnTo>
                    <a:pt x="21593" y="21587"/>
                  </a:lnTo>
                  <a:lnTo>
                    <a:pt x="21600" y="21587"/>
                  </a:lnTo>
                  <a:lnTo>
                    <a:pt x="2160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21587"/>
                  </a:lnTo>
                  <a:lnTo>
                    <a:pt x="21593" y="21587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891157">
                <a:defRPr sz="1700">
                  <a:solidFill>
                    <a:srgbClr val="575757"/>
                  </a:solidFill>
                </a:defRPr>
              </a:pPr>
              <a:endParaRPr sz="1695"/>
            </a:p>
          </p:txBody>
        </p:sp>
        <p:sp>
          <p:nvSpPr>
            <p:cNvPr id="626" name="Footnote measure"/>
            <p:cNvSpPr/>
            <p:nvPr/>
          </p:nvSpPr>
          <p:spPr>
            <a:xfrm>
              <a:off x="615562" y="6034127"/>
              <a:ext cx="10682649" cy="37087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>
                  <a:solidFill>
                    <a:srgbClr val="000000"/>
                  </a:solidFill>
                </a:defRPr>
              </a:pPr>
              <a:endParaRPr sz="2195"/>
            </a:p>
          </p:txBody>
        </p:sp>
        <p:sp>
          <p:nvSpPr>
            <p:cNvPr id="627" name="Whitespace measure"/>
            <p:cNvSpPr/>
            <p:nvPr/>
          </p:nvSpPr>
          <p:spPr>
            <a:xfrm>
              <a:off x="615562" y="1467094"/>
              <a:ext cx="10681700" cy="57132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>
                  <a:solidFill>
                    <a:srgbClr val="000000"/>
                  </a:solidFill>
                </a:defRPr>
              </a:pPr>
              <a:endParaRPr sz="2195"/>
            </a:p>
          </p:txBody>
        </p:sp>
        <p:grpSp>
          <p:nvGrpSpPr>
            <p:cNvPr id="633" name="Five column measure"/>
            <p:cNvGrpSpPr/>
            <p:nvPr/>
          </p:nvGrpSpPr>
          <p:grpSpPr>
            <a:xfrm>
              <a:off x="615562" y="5853407"/>
              <a:ext cx="10682649" cy="77916"/>
              <a:chOff x="0" y="0"/>
              <a:chExt cx="10682647" cy="77914"/>
            </a:xfrm>
          </p:grpSpPr>
          <p:sp>
            <p:nvSpPr>
              <p:cNvPr id="628" name="Rectangle 5"/>
              <p:cNvSpPr/>
              <p:nvPr/>
            </p:nvSpPr>
            <p:spPr>
              <a:xfrm>
                <a:off x="2199148" y="0"/>
                <a:ext cx="1886053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29" name="Rectangle 7"/>
              <p:cNvSpPr/>
              <p:nvPr/>
            </p:nvSpPr>
            <p:spPr>
              <a:xfrm>
                <a:off x="8790617" y="0"/>
                <a:ext cx="1892031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30" name="Rectangle 9"/>
              <p:cNvSpPr/>
              <p:nvPr/>
            </p:nvSpPr>
            <p:spPr>
              <a:xfrm>
                <a:off x="6588480" y="0"/>
                <a:ext cx="1892031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31" name="Rectangle 11"/>
              <p:cNvSpPr/>
              <p:nvPr/>
            </p:nvSpPr>
            <p:spPr>
              <a:xfrm>
                <a:off x="4395308" y="0"/>
                <a:ext cx="1883064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632" name="Rectangle 13"/>
              <p:cNvSpPr/>
              <p:nvPr/>
            </p:nvSpPr>
            <p:spPr>
              <a:xfrm>
                <a:off x="-1" y="0"/>
                <a:ext cx="1889042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</p:grpSp>
        <p:sp>
          <p:nvSpPr>
            <p:cNvPr id="634" name="Live area"/>
            <p:cNvSpPr/>
            <p:nvPr/>
          </p:nvSpPr>
          <p:spPr>
            <a:xfrm>
              <a:off x="615562" y="2038415"/>
              <a:ext cx="10682649" cy="3995714"/>
            </a:xfrm>
            <a:prstGeom prst="rect">
              <a:avLst/>
            </a:prstGeom>
            <a:noFill/>
            <a:ln w="9525" cap="flat">
              <a:solidFill>
                <a:srgbClr val="E71C57">
                  <a:alpha val="35000"/>
                </a:srgbClr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898"/>
                </a:spcBef>
                <a:defRPr sz="1100">
                  <a:solidFill>
                    <a:srgbClr val="FFFFFF"/>
                  </a:solidFill>
                </a:defRPr>
              </a:pPr>
              <a:endParaRPr sz="1097"/>
            </a:p>
          </p:txBody>
        </p:sp>
        <p:sp>
          <p:nvSpPr>
            <p:cNvPr id="635" name="Footnote example"/>
            <p:cNvSpPr txBox="1"/>
            <p:nvPr/>
          </p:nvSpPr>
          <p:spPr>
            <a:xfrm>
              <a:off x="616148" y="6053135"/>
              <a:ext cx="9569712" cy="3731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b">
              <a:spAutoFit/>
            </a:bodyPr>
            <a:lstStyle/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1. xxxx  2. xxxx  3. xxxx</a:t>
              </a:r>
            </a:p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Note: List footnotes in numerical order. Footnote numbers are not bracketed. Use 10pt font. Do not put a period at the end of the note or the source</a:t>
              </a:r>
              <a:endParaRPr sz="898">
                <a:solidFill>
                  <a:srgbClr val="000000"/>
                </a:solidFill>
              </a:endParaRPr>
            </a:p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00880752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Section Header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44" name="Rectangle 10"/>
          <p:cNvSpPr/>
          <p:nvPr/>
        </p:nvSpPr>
        <p:spPr>
          <a:xfrm>
            <a:off x="1356333" y="4595627"/>
            <a:ext cx="908041" cy="975589"/>
          </a:xfrm>
          <a:prstGeom prst="rect">
            <a:avLst/>
          </a:prstGeom>
          <a:ln>
            <a:solidFill>
              <a:srgbClr val="FFFFFF"/>
            </a:solidFill>
            <a:miter/>
          </a:ln>
        </p:spPr>
        <p:txBody>
          <a:bodyPr lIns="45600" rIns="45600" anchor="ctr"/>
          <a:lstStyle/>
          <a:p>
            <a:pPr algn="ctr">
              <a:lnSpc>
                <a:spcPct val="95000"/>
              </a:lnSpc>
              <a:defRPr sz="1900"/>
            </a:pPr>
            <a:endParaRPr sz="1896"/>
          </a:p>
        </p:txBody>
      </p:sp>
      <p:sp>
        <p:nvSpPr>
          <p:cNvPr id="645" name="Rectangle 11"/>
          <p:cNvSpPr/>
          <p:nvPr/>
        </p:nvSpPr>
        <p:spPr>
          <a:xfrm>
            <a:off x="2451974" y="4595626"/>
            <a:ext cx="1534170" cy="1438270"/>
          </a:xfrm>
          <a:prstGeom prst="rect">
            <a:avLst/>
          </a:prstGeom>
          <a:ln>
            <a:solidFill>
              <a:srgbClr val="FFFFFF"/>
            </a:solidFill>
            <a:miter/>
          </a:ln>
        </p:spPr>
        <p:txBody>
          <a:bodyPr lIns="45600" rIns="45600"/>
          <a:lstStyle/>
          <a:p>
            <a:pPr>
              <a:lnSpc>
                <a:spcPct val="95000"/>
              </a:lnSpc>
              <a:defRPr sz="1100"/>
            </a:pPr>
            <a:endParaRPr sz="1097"/>
          </a:p>
        </p:txBody>
      </p:sp>
      <p:sp>
        <p:nvSpPr>
          <p:cNvPr id="646" name="TextBox 1"/>
          <p:cNvSpPr/>
          <p:nvPr/>
        </p:nvSpPr>
        <p:spPr>
          <a:xfrm>
            <a:off x="615563" y="888718"/>
            <a:ext cx="3369766" cy="3515502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498"/>
              </a:spcBef>
              <a:defRPr sz="5200"/>
            </a:pPr>
            <a:endParaRPr sz="5186"/>
          </a:p>
        </p:txBody>
      </p:sp>
      <p:sp>
        <p:nvSpPr>
          <p:cNvPr id="647" name="TextBox 1"/>
          <p:cNvSpPr txBox="1"/>
          <p:nvPr/>
        </p:nvSpPr>
        <p:spPr>
          <a:xfrm>
            <a:off x="1106299" y="1092696"/>
            <a:ext cx="2387592" cy="8504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600" rIns="45600">
            <a:spAutoFit/>
          </a:bodyPr>
          <a:lstStyle>
            <a:lvl1pPr algn="ctr">
              <a:lnSpc>
                <a:spcPct val="95000"/>
              </a:lnSpc>
              <a:defRPr sz="5200">
                <a:solidFill>
                  <a:srgbClr val="FFFFFF"/>
                </a:solidFill>
              </a:defRPr>
            </a:lvl1pPr>
          </a:lstStyle>
          <a:p>
            <a:r>
              <a:rPr sz="5186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34144066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Section Header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55" name="Rectangle 9"/>
          <p:cNvSpPr/>
          <p:nvPr/>
        </p:nvSpPr>
        <p:spPr>
          <a:xfrm>
            <a:off x="1255301" y="1399040"/>
            <a:ext cx="925957" cy="928369"/>
          </a:xfrm>
          <a:prstGeom prst="rect">
            <a:avLst/>
          </a:prstGeom>
          <a:ln>
            <a:solidFill>
              <a:srgbClr val="FFFFFF"/>
            </a:solidFill>
            <a:miter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656" name="Rectangle 12"/>
          <p:cNvSpPr/>
          <p:nvPr/>
        </p:nvSpPr>
        <p:spPr>
          <a:xfrm>
            <a:off x="1255748" y="2613260"/>
            <a:ext cx="9398760" cy="3135208"/>
          </a:xfrm>
          <a:prstGeom prst="rect">
            <a:avLst/>
          </a:prstGeom>
          <a:ln>
            <a:solidFill>
              <a:srgbClr val="FFFFFF"/>
            </a:solidFill>
            <a:miter/>
          </a:ln>
        </p:spPr>
        <p:txBody>
          <a:bodyPr lIns="45600" rIns="45600" anchor="ctr"/>
          <a:lstStyle/>
          <a:p>
            <a:pPr algn="ctr">
              <a:defRPr sz="1900">
                <a:solidFill>
                  <a:srgbClr val="FFFFFF"/>
                </a:solidFill>
              </a:defRPr>
            </a:pPr>
            <a:endParaRPr sz="1896"/>
          </a:p>
        </p:txBody>
      </p:sp>
    </p:spTree>
    <p:extLst>
      <p:ext uri="{BB962C8B-B14F-4D97-AF65-F5344CB8AC3E}">
        <p14:creationId xmlns:p14="http://schemas.microsoft.com/office/powerpoint/2010/main" val="140091440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Full Width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64" name="Title 1"/>
          <p:cNvSpPr txBox="1"/>
          <p:nvPr/>
        </p:nvSpPr>
        <p:spPr>
          <a:xfrm>
            <a:off x="615563" y="610114"/>
            <a:ext cx="7025228" cy="455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914400">
              <a:lnSpc>
                <a:spcPct val="90000"/>
              </a:lnSpc>
              <a:defRPr sz="3300">
                <a:solidFill>
                  <a:srgbClr val="FFFFFF"/>
                </a:solidFill>
              </a:defRPr>
            </a:lvl1pPr>
          </a:lstStyle>
          <a:p>
            <a:r>
              <a:rPr sz="3292"/>
              <a:t>Agenda</a:t>
            </a:r>
          </a:p>
        </p:txBody>
      </p:sp>
      <p:sp>
        <p:nvSpPr>
          <p:cNvPr id="665" name="Straight Connector 12"/>
          <p:cNvSpPr/>
          <p:nvPr/>
        </p:nvSpPr>
        <p:spPr>
          <a:xfrm>
            <a:off x="604714" y="1181434"/>
            <a:ext cx="11311016" cy="1"/>
          </a:xfrm>
          <a:prstGeom prst="line">
            <a:avLst/>
          </a:prstGeom>
          <a:ln>
            <a:solidFill>
              <a:srgbClr val="FFFFFF"/>
            </a:solidFill>
            <a:miter/>
          </a:ln>
        </p:spPr>
        <p:txBody>
          <a:bodyPr lIns="45600" rIns="45600"/>
          <a:lstStyle/>
          <a:p>
            <a:endParaRPr sz="1795"/>
          </a:p>
        </p:txBody>
      </p:sp>
    </p:spTree>
    <p:extLst>
      <p:ext uri="{BB962C8B-B14F-4D97-AF65-F5344CB8AC3E}">
        <p14:creationId xmlns:p14="http://schemas.microsoft.com/office/powerpoint/2010/main" val="3752321955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2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3586939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673" name="Rectangle 12"/>
          <p:cNvSpPr/>
          <p:nvPr/>
        </p:nvSpPr>
        <p:spPr>
          <a:xfrm>
            <a:off x="3987247" y="-1283"/>
            <a:ext cx="7925355" cy="6719584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67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75" name="TextBox 16"/>
          <p:cNvSpPr txBox="1"/>
          <p:nvPr/>
        </p:nvSpPr>
        <p:spPr>
          <a:xfrm>
            <a:off x="615563" y="3142372"/>
            <a:ext cx="1511690" cy="4282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 sz="3100">
                <a:solidFill>
                  <a:srgbClr val="FFFFFF"/>
                </a:solidFill>
              </a:defRPr>
            </a:lvl1pPr>
          </a:lstStyle>
          <a:p>
            <a:r>
              <a:rPr sz="3092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34290187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83" name="Rectangle 7"/>
          <p:cNvSpPr/>
          <p:nvPr/>
        </p:nvSpPr>
        <p:spPr>
          <a:xfrm>
            <a:off x="1356333" y="4595627"/>
            <a:ext cx="908041" cy="975589"/>
          </a:xfrm>
          <a:prstGeom prst="rect">
            <a:avLst/>
          </a:prstGeom>
          <a:ln>
            <a:solidFill>
              <a:srgbClr val="6E6F73"/>
            </a:solidFill>
            <a:miter/>
          </a:ln>
        </p:spPr>
        <p:txBody>
          <a:bodyPr lIns="45600" rIns="45600" anchor="ctr"/>
          <a:lstStyle/>
          <a:p>
            <a:pPr algn="ctr">
              <a:lnSpc>
                <a:spcPct val="95000"/>
              </a:lnSpc>
              <a:defRPr sz="1900">
                <a:solidFill>
                  <a:srgbClr val="FFFFFF"/>
                </a:solidFill>
              </a:defRPr>
            </a:pPr>
            <a:endParaRPr sz="1896"/>
          </a:p>
        </p:txBody>
      </p:sp>
      <p:sp>
        <p:nvSpPr>
          <p:cNvPr id="684" name="Rectangle 9"/>
          <p:cNvSpPr/>
          <p:nvPr/>
        </p:nvSpPr>
        <p:spPr>
          <a:xfrm>
            <a:off x="2451974" y="4595626"/>
            <a:ext cx="1534170" cy="1438270"/>
          </a:xfrm>
          <a:prstGeom prst="rect">
            <a:avLst/>
          </a:prstGeom>
          <a:ln>
            <a:solidFill>
              <a:srgbClr val="6E6F73"/>
            </a:solidFill>
            <a:miter/>
          </a:ln>
        </p:spPr>
        <p:txBody>
          <a:bodyPr lIns="45600" rIns="45600"/>
          <a:lstStyle/>
          <a:p>
            <a:pPr>
              <a:lnSpc>
                <a:spcPct val="95000"/>
              </a:lnSpc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685" name="TextBox 10"/>
          <p:cNvSpPr/>
          <p:nvPr/>
        </p:nvSpPr>
        <p:spPr>
          <a:xfrm>
            <a:off x="615563" y="888717"/>
            <a:ext cx="3369766" cy="3540385"/>
          </a:xfrm>
          <a:prstGeom prst="rect">
            <a:avLst/>
          </a:prstGeom>
          <a:ln>
            <a:solidFill>
              <a:srgbClr val="6E6F73"/>
            </a:solidFill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498"/>
              </a:spcBef>
              <a:defRPr sz="5200">
                <a:solidFill>
                  <a:schemeClr val="accent1"/>
                </a:solidFill>
              </a:defRPr>
            </a:pPr>
            <a:endParaRPr sz="5186"/>
          </a:p>
        </p:txBody>
      </p:sp>
      <p:sp>
        <p:nvSpPr>
          <p:cNvPr id="686" name="TextBox 1"/>
          <p:cNvSpPr txBox="1"/>
          <p:nvPr/>
        </p:nvSpPr>
        <p:spPr>
          <a:xfrm>
            <a:off x="1106298" y="1092696"/>
            <a:ext cx="2387592" cy="8504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600" rIns="45600">
            <a:spAutoFit/>
          </a:bodyPr>
          <a:lstStyle>
            <a:lvl1pPr algn="ctr">
              <a:lnSpc>
                <a:spcPct val="95000"/>
              </a:lnSpc>
              <a:defRPr sz="5200"/>
            </a:lvl1pPr>
          </a:lstStyle>
          <a:p>
            <a:r>
              <a:rPr sz="5186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90020520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94" name="Rectangle 7"/>
          <p:cNvSpPr/>
          <p:nvPr/>
        </p:nvSpPr>
        <p:spPr>
          <a:xfrm>
            <a:off x="1255301" y="1399040"/>
            <a:ext cx="925957" cy="928369"/>
          </a:xfrm>
          <a:prstGeom prst="rect">
            <a:avLst/>
          </a:prstGeom>
          <a:ln>
            <a:solidFill>
              <a:srgbClr val="6E6F73"/>
            </a:solidFill>
            <a:miter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695" name="Rectangle 9"/>
          <p:cNvSpPr/>
          <p:nvPr/>
        </p:nvSpPr>
        <p:spPr>
          <a:xfrm>
            <a:off x="1255748" y="2613260"/>
            <a:ext cx="9398760" cy="3135208"/>
          </a:xfrm>
          <a:prstGeom prst="rect">
            <a:avLst/>
          </a:prstGeom>
          <a:ln>
            <a:solidFill>
              <a:srgbClr val="6E6F73"/>
            </a:solidFill>
            <a:miter/>
          </a:ln>
        </p:spPr>
        <p:txBody>
          <a:bodyPr lIns="45600" rIns="45600" anchor="ctr"/>
          <a:lstStyle/>
          <a:p>
            <a:pPr algn="ctr">
              <a:defRPr sz="1900">
                <a:solidFill>
                  <a:srgbClr val="FFFFFF"/>
                </a:solidFill>
              </a:defRPr>
            </a:pPr>
            <a:endParaRPr sz="1896"/>
          </a:p>
        </p:txBody>
      </p:sp>
    </p:spTree>
    <p:extLst>
      <p:ext uri="{BB962C8B-B14F-4D97-AF65-F5344CB8AC3E}">
        <p14:creationId xmlns:p14="http://schemas.microsoft.com/office/powerpoint/2010/main" val="295984653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15" descr="Picture 15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rot="10800000" flipH="1">
            <a:off x="3971839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6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2" name="Rectangle 25"/>
          <p:cNvSpPr/>
          <p:nvPr/>
        </p:nvSpPr>
        <p:spPr>
          <a:xfrm>
            <a:off x="-1" y="0"/>
            <a:ext cx="3986021" cy="6718300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6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4" y="2626488"/>
            <a:ext cx="3056201" cy="1465325"/>
          </a:xfrm>
          <a:prstGeom prst="rect">
            <a:avLst/>
          </a:prstGeom>
        </p:spPr>
        <p:txBody>
          <a:bodyPr/>
          <a:lstStyle>
            <a:lvl1pPr>
              <a:defRPr sz="3092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64" name="Picture 9" descr="Picture 9"/>
          <p:cNvPicPr>
            <a:picLocks noChangeAspect="1"/>
          </p:cNvPicPr>
          <p:nvPr/>
        </p:nvPicPr>
        <p:blipFill>
          <a:blip r:embed="rId3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92639326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03" name="Title 1"/>
          <p:cNvSpPr txBox="1"/>
          <p:nvPr/>
        </p:nvSpPr>
        <p:spPr>
          <a:xfrm>
            <a:off x="615563" y="610114"/>
            <a:ext cx="7025228" cy="455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defTabSz="914400">
              <a:lnSpc>
                <a:spcPct val="90000"/>
              </a:lnSpc>
              <a:defRPr sz="3300"/>
            </a:lvl1pPr>
          </a:lstStyle>
          <a:p>
            <a:r>
              <a:rPr sz="3292"/>
              <a:t>Agenda</a:t>
            </a:r>
          </a:p>
        </p:txBody>
      </p:sp>
      <p:sp>
        <p:nvSpPr>
          <p:cNvPr id="704" name="Straight Connector 8"/>
          <p:cNvSpPr/>
          <p:nvPr/>
        </p:nvSpPr>
        <p:spPr>
          <a:xfrm>
            <a:off x="604714" y="1181434"/>
            <a:ext cx="11311016" cy="1"/>
          </a:xfrm>
          <a:prstGeom prst="line">
            <a:avLst/>
          </a:prstGeom>
          <a:ln>
            <a:solidFill>
              <a:srgbClr val="6E6F73"/>
            </a:solidFill>
            <a:miter/>
          </a:ln>
        </p:spPr>
        <p:txBody>
          <a:bodyPr lIns="45600" rIns="45600"/>
          <a:lstStyle/>
          <a:p>
            <a:endParaRPr sz="1795"/>
          </a:p>
        </p:txBody>
      </p:sp>
    </p:spTree>
    <p:extLst>
      <p:ext uri="{BB962C8B-B14F-4D97-AF65-F5344CB8AC3E}">
        <p14:creationId xmlns:p14="http://schemas.microsoft.com/office/powerpoint/2010/main" val="2437508852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D.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1" name="Picture 22" descr="Picture 22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3586939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712" name="Rectangle 25"/>
          <p:cNvSpPr/>
          <p:nvPr/>
        </p:nvSpPr>
        <p:spPr>
          <a:xfrm>
            <a:off x="3987247" y="-1283"/>
            <a:ext cx="7925355" cy="671958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71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14" name="TextBox 9"/>
          <p:cNvSpPr txBox="1"/>
          <p:nvPr/>
        </p:nvSpPr>
        <p:spPr>
          <a:xfrm>
            <a:off x="615564" y="3195694"/>
            <a:ext cx="1134440" cy="2485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ts val="500"/>
              </a:spcBef>
              <a:defRPr>
                <a:solidFill>
                  <a:srgbClr val="FFFFFF"/>
                </a:solidFill>
              </a:defRPr>
            </a:lvl1pPr>
          </a:lstStyle>
          <a:p>
            <a:r>
              <a:rPr sz="1795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44421460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" name="Freeform 12"/>
          <p:cNvSpPr/>
          <p:nvPr/>
        </p:nvSpPr>
        <p:spPr>
          <a:xfrm>
            <a:off x="0" y="1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722" name="Freeform 12"/>
          <p:cNvSpPr/>
          <p:nvPr/>
        </p:nvSpPr>
        <p:spPr>
          <a:xfrm>
            <a:off x="0" y="1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723" name="TextBox 19"/>
          <p:cNvSpPr txBox="1"/>
          <p:nvPr/>
        </p:nvSpPr>
        <p:spPr>
          <a:xfrm>
            <a:off x="615561" y="2572463"/>
            <a:ext cx="3100036" cy="1631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ct val="105999"/>
              </a:lnSpc>
              <a:spcBef>
                <a:spcPts val="600"/>
              </a:spcBef>
              <a:defRPr sz="5200"/>
            </a:lvl1pPr>
          </a:lstStyle>
          <a:p>
            <a:r>
              <a:rPr sz="5186"/>
              <a:t>Table of contents</a:t>
            </a:r>
          </a:p>
        </p:txBody>
      </p:sp>
      <p:sp>
        <p:nvSpPr>
          <p:cNvPr id="72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72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3037398" y="3513685"/>
            <a:ext cx="1333898" cy="33139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263"/>
                </a:lnTo>
                <a:lnTo>
                  <a:pt x="14704" y="0"/>
                </a:lnTo>
                <a:lnTo>
                  <a:pt x="0" y="0"/>
                </a:lnTo>
                <a:close/>
                <a:moveTo>
                  <a:pt x="14916" y="0"/>
                </a:moveTo>
                <a:lnTo>
                  <a:pt x="203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916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93272714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bod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06075" y="581281"/>
            <a:ext cx="11100450" cy="506503"/>
          </a:xfrm>
          <a:prstGeom prst="rect">
            <a:avLst/>
          </a:prstGeom>
        </p:spPr>
        <p:txBody>
          <a:bodyPr lIns="91424" tIns="91424" rIns="91424" bIns="91424"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3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06075" y="1505331"/>
            <a:ext cx="11100450" cy="4462410"/>
          </a:xfrm>
          <a:prstGeom prst="rect">
            <a:avLst/>
          </a:prstGeom>
        </p:spPr>
        <p:txBody>
          <a:bodyPr lIns="91424" tIns="91424" rIns="91424" bIns="91424">
            <a:normAutofit/>
          </a:bodyPr>
          <a:lstStyle>
            <a:lvl1pPr marL="594090" indent="-445568">
              <a:spcBef>
                <a:spcPts val="0"/>
              </a:spcBef>
              <a:buSzPts val="1100"/>
              <a:buChar char="●"/>
            </a:lvl1pPr>
            <a:lvl2pPr marL="1188182" indent="-412563">
              <a:spcBef>
                <a:spcPts val="0"/>
              </a:spcBef>
              <a:buSzPts val="1100"/>
              <a:buChar char="○"/>
            </a:lvl2pPr>
            <a:lvl3pPr marL="1782272" indent="-412563">
              <a:spcBef>
                <a:spcPts val="0"/>
              </a:spcBef>
              <a:buSzPts val="1100"/>
              <a:buChar char="■"/>
            </a:lvl3pPr>
            <a:lvl4pPr marL="2266346" indent="-302545">
              <a:spcBef>
                <a:spcPts val="0"/>
              </a:spcBef>
              <a:buSzPts val="1100"/>
              <a:buChar char="●"/>
            </a:lvl4pPr>
            <a:lvl5pPr marL="2860437" indent="-302545">
              <a:spcBef>
                <a:spcPts val="0"/>
              </a:spcBef>
              <a:buSzPts val="1100"/>
              <a:buChar char="○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1510859587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4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06075" y="2942065"/>
            <a:ext cx="11100450" cy="834173"/>
          </a:xfrm>
          <a:prstGeom prst="rect">
            <a:avLst/>
          </a:prstGeom>
        </p:spPr>
        <p:txBody>
          <a:bodyPr lIns="91424" tIns="91424" rIns="91424" bIns="91424"/>
          <a:lstStyle>
            <a:lvl1pPr algn="ctr">
              <a:defRPr sz="4588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07726055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и текст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50" name="Shape 59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 anchor="ctr"/>
          <a:lstStyle/>
          <a:p>
            <a:pPr algn="ctr">
              <a:defRPr sz="2200">
                <a:solidFill>
                  <a:srgbClr val="FFFFFF"/>
                </a:solidFill>
              </a:defRPr>
            </a:pPr>
            <a:endParaRPr sz="2195"/>
          </a:p>
        </p:txBody>
      </p:sp>
      <p:sp>
        <p:nvSpPr>
          <p:cNvPr id="75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595631" y="1567608"/>
            <a:ext cx="10721341" cy="4433767"/>
          </a:xfrm>
          <a:prstGeom prst="rect">
            <a:avLst/>
          </a:prstGeom>
        </p:spPr>
        <p:txBody>
          <a:bodyPr lIns="59674" tIns="59674" rIns="59674" bIns="59674">
            <a:normAutofit/>
          </a:bodyPr>
          <a:lstStyle>
            <a:lvl1pPr marL="454063" indent="-378386">
              <a:spcBef>
                <a:spcPts val="399"/>
              </a:spcBef>
              <a:buClr>
                <a:srgbClr val="57595B"/>
              </a:buClr>
              <a:buSzPts val="2300"/>
              <a:buChar char="•"/>
              <a:defRPr sz="2294">
                <a:solidFill>
                  <a:srgbClr val="57595B"/>
                </a:solidFill>
              </a:defRPr>
            </a:lvl1pPr>
            <a:lvl2pPr marL="982476" indent="-427510">
              <a:spcBef>
                <a:spcPts val="399"/>
              </a:spcBef>
              <a:buClr>
                <a:srgbClr val="57595B"/>
              </a:buClr>
              <a:buSzPts val="2300"/>
              <a:buChar char="–"/>
              <a:defRPr sz="2294">
                <a:solidFill>
                  <a:srgbClr val="57595B"/>
                </a:solidFill>
              </a:defRPr>
            </a:lvl2pPr>
            <a:lvl3pPr marL="1537089" indent="-502833">
              <a:spcBef>
                <a:spcPts val="399"/>
              </a:spcBef>
              <a:buClr>
                <a:srgbClr val="57595B"/>
              </a:buClr>
              <a:buSzPts val="2300"/>
              <a:buChar char="•"/>
              <a:defRPr sz="2294">
                <a:solidFill>
                  <a:srgbClr val="57595B"/>
                </a:solidFill>
              </a:defRPr>
            </a:lvl3pPr>
            <a:lvl4pPr marL="2058809" indent="-557876">
              <a:spcBef>
                <a:spcPts val="399"/>
              </a:spcBef>
              <a:buClr>
                <a:srgbClr val="57595B"/>
              </a:buClr>
              <a:buSzPts val="2300"/>
              <a:buChar char="–"/>
              <a:defRPr sz="2294">
                <a:solidFill>
                  <a:srgbClr val="57595B"/>
                </a:solidFill>
              </a:defRPr>
            </a:lvl4pPr>
            <a:lvl5pPr marL="2512873" indent="-557876">
              <a:spcBef>
                <a:spcPts val="399"/>
              </a:spcBef>
              <a:buClr>
                <a:srgbClr val="57595B"/>
              </a:buClr>
              <a:buSzPts val="2300"/>
              <a:buChar char="»"/>
              <a:defRPr sz="2294">
                <a:solidFill>
                  <a:srgbClr val="57595B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752" name="Shape 134" descr="Shape 13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" y="-5198"/>
            <a:ext cx="11912590" cy="1043271"/>
          </a:xfrm>
          <a:prstGeom prst="rect">
            <a:avLst/>
          </a:prstGeom>
          <a:ln w="12700">
            <a:miter lim="400000"/>
          </a:ln>
        </p:spPr>
      </p:pic>
      <p:pic>
        <p:nvPicPr>
          <p:cNvPr id="753" name="Shape 136" descr="Shape 136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378073" y="107774"/>
            <a:ext cx="186619" cy="7958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32236578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6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610114"/>
            <a:ext cx="10682794" cy="325629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6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549811" y="1478025"/>
            <a:ext cx="10820308" cy="44967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299"/>
              </a:spcBef>
            </a:lvl1pPr>
            <a:lvl2pPr marL="445578" indent="-224544">
              <a:spcBef>
                <a:spcPts val="299"/>
              </a:spcBef>
            </a:lvl2pPr>
            <a:lvl3pPr marL="891157" indent="-224544">
              <a:spcBef>
                <a:spcPts val="299"/>
              </a:spcBef>
            </a:lvl3pPr>
            <a:lvl4pPr marL="1279432" indent="-167238">
              <a:spcBef>
                <a:spcPts val="299"/>
              </a:spcBef>
            </a:lvl4pPr>
            <a:lvl5pPr marL="1946981" indent="-164665">
              <a:spcBef>
                <a:spcPts val="299"/>
              </a:spcBef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3902891673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9" name="Picture 1" descr="Picture 1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" y="0"/>
            <a:ext cx="11910391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770" name="Rectangle 13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12700">
            <a:miter lim="400000"/>
          </a:ln>
        </p:spPr>
        <p:txBody>
          <a:bodyPr lIns="45600" rIns="45600" anchor="ctr"/>
          <a:lstStyle/>
          <a:p>
            <a:pPr algn="ctr">
              <a:defRPr sz="2200">
                <a:solidFill>
                  <a:srgbClr val="FFFFFF"/>
                </a:solidFill>
              </a:defRPr>
            </a:pPr>
            <a:endParaRPr sz="2195"/>
          </a:p>
        </p:txBody>
      </p:sp>
      <p:pic>
        <p:nvPicPr>
          <p:cNvPr id="771" name="Shape 54" descr="Shape 5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33497" y="4957431"/>
            <a:ext cx="3923261" cy="1281205"/>
          </a:xfrm>
          <a:prstGeom prst="rect">
            <a:avLst/>
          </a:prstGeom>
          <a:ln w="12700">
            <a:miter lim="400000"/>
          </a:ln>
        </p:spPr>
      </p:pic>
      <p:pic>
        <p:nvPicPr>
          <p:cNvPr id="772" name="Shape 56" descr="Shape 56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01258" y="550596"/>
            <a:ext cx="1315863" cy="2541665"/>
          </a:xfrm>
          <a:prstGeom prst="rect">
            <a:avLst/>
          </a:prstGeom>
          <a:ln w="12700">
            <a:miter lim="400000"/>
          </a:ln>
        </p:spPr>
      </p:pic>
      <p:sp>
        <p:nvSpPr>
          <p:cNvPr id="77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821664" y="1993159"/>
            <a:ext cx="5567578" cy="1366089"/>
          </a:xfrm>
          <a:prstGeom prst="rect">
            <a:avLst/>
          </a:prstGeom>
        </p:spPr>
        <p:txBody>
          <a:bodyPr anchor="t"/>
          <a:lstStyle>
            <a:lvl1pPr>
              <a:defRPr sz="3491" b="1"/>
            </a:lvl1pPr>
          </a:lstStyle>
          <a:p>
            <a:r>
              <a:t>Текст заголовка</a:t>
            </a:r>
          </a:p>
        </p:txBody>
      </p:sp>
      <p:sp>
        <p:nvSpPr>
          <p:cNvPr id="77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257482" y="6088594"/>
            <a:ext cx="279883" cy="276549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1190491">
              <a:defRPr sz="1197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8841926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782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783" name="Rectangle 7"/>
          <p:cNvSpPr/>
          <p:nvPr/>
        </p:nvSpPr>
        <p:spPr>
          <a:xfrm>
            <a:off x="0" y="-1"/>
            <a:ext cx="11912600" cy="1132160"/>
          </a:xfrm>
          <a:prstGeom prst="rect">
            <a:avLst/>
          </a:prstGeom>
          <a:solidFill>
            <a:schemeClr val="accent2">
              <a:lumOff val="21764"/>
            </a:schemeClr>
          </a:solidFill>
          <a:ln cap="rnd">
            <a:solidFill>
              <a:schemeClr val="accent2">
                <a:lumOff val="21764"/>
              </a:schemeClr>
            </a:solidFill>
          </a:ln>
        </p:spPr>
        <p:txBody>
          <a:bodyPr lIns="45600" rIns="45600" anchor="ctr"/>
          <a:lstStyle/>
          <a:p>
            <a:pPr algn="ctr"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78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335426"/>
            <a:ext cx="10676590" cy="461307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t>Текст заголовка</a:t>
            </a:r>
          </a:p>
        </p:txBody>
      </p:sp>
      <p:pic>
        <p:nvPicPr>
          <p:cNvPr id="78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87714070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793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794" name="Rectangle 7"/>
          <p:cNvSpPr/>
          <p:nvPr/>
        </p:nvSpPr>
        <p:spPr>
          <a:xfrm>
            <a:off x="0" y="-1283"/>
            <a:ext cx="4586822" cy="6719584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79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1512817"/>
            <a:ext cx="3373284" cy="1465325"/>
          </a:xfrm>
          <a:prstGeom prst="rect">
            <a:avLst/>
          </a:prstGeom>
        </p:spPr>
        <p:txBody>
          <a:bodyPr anchor="b"/>
          <a:lstStyle>
            <a:lvl1pPr>
              <a:defRPr sz="3092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1146212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rot="10800000" flipH="1">
            <a:off x="7001395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72" name="Rectangle 12"/>
          <p:cNvSpPr/>
          <p:nvPr/>
        </p:nvSpPr>
        <p:spPr>
          <a:xfrm>
            <a:off x="0" y="0"/>
            <a:ext cx="7007598" cy="6718300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7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610114"/>
            <a:ext cx="6113415" cy="46130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75" name="Picture 11" descr="Picture 11"/>
          <p:cNvPicPr>
            <a:picLocks noChangeAspect="1"/>
          </p:cNvPicPr>
          <p:nvPr/>
        </p:nvPicPr>
        <p:blipFill>
          <a:blip r:embed="rId3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40026579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Section header box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255300" y="2613693"/>
            <a:ext cx="9400022" cy="3135821"/>
          </a:xfrm>
          <a:prstGeom prst="rect">
            <a:avLst/>
          </a:prstGeom>
          <a:ln w="9525">
            <a:solidFill>
              <a:srgbClr val="9B9B9B"/>
            </a:solidFill>
            <a:round/>
          </a:ln>
        </p:spPr>
        <p:txBody>
          <a:bodyPr lIns="137160" tIns="137160" rIns="137160" bIns="137160" anchor="b"/>
          <a:lstStyle>
            <a:lvl1pPr>
              <a:lnSpc>
                <a:spcPts val="5785"/>
              </a:lnSpc>
              <a:defRPr sz="5186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0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804" name="Rectangle 58"/>
          <p:cNvSpPr/>
          <p:nvPr/>
        </p:nvSpPr>
        <p:spPr>
          <a:xfrm>
            <a:off x="1255301" y="1399040"/>
            <a:ext cx="925957" cy="928369"/>
          </a:xfrm>
          <a:prstGeom prst="rect">
            <a:avLst/>
          </a:prstGeom>
          <a:ln w="10795">
            <a:solidFill>
              <a:srgbClr val="9B9B9B"/>
            </a:solidFill>
            <a:miter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</p:spTree>
    <p:extLst>
      <p:ext uri="{BB962C8B-B14F-4D97-AF65-F5344CB8AC3E}">
        <p14:creationId xmlns:p14="http://schemas.microsoft.com/office/powerpoint/2010/main" val="1221808025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Section header line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8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3748848"/>
            <a:ext cx="10686165" cy="1999621"/>
          </a:xfrm>
          <a:prstGeom prst="rect">
            <a:avLst/>
          </a:prstGeom>
        </p:spPr>
        <p:txBody>
          <a:bodyPr anchor="t"/>
          <a:lstStyle>
            <a:lvl1pPr>
              <a:defRPr sz="5186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13" name="Straight Connector 147"/>
          <p:cNvSpPr/>
          <p:nvPr/>
        </p:nvSpPr>
        <p:spPr>
          <a:xfrm>
            <a:off x="604714" y="3605053"/>
            <a:ext cx="11311016" cy="1"/>
          </a:xfrm>
          <a:prstGeom prst="line">
            <a:avLst/>
          </a:prstGeom>
          <a:ln w="19050">
            <a:solidFill>
              <a:srgbClr val="9B9B9B"/>
            </a:solidFill>
            <a:miter/>
          </a:ln>
        </p:spPr>
        <p:txBody>
          <a:bodyPr lIns="45600" rIns="45600"/>
          <a:lstStyle/>
          <a:p>
            <a:endParaRPr sz="1795"/>
          </a:p>
        </p:txBody>
      </p:sp>
    </p:spTree>
    <p:extLst>
      <p:ext uri="{BB962C8B-B14F-4D97-AF65-F5344CB8AC3E}">
        <p14:creationId xmlns:p14="http://schemas.microsoft.com/office/powerpoint/2010/main" val="433597852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White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" name="Picture 15" descr="Picture 15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rot="10800000" flipH="1">
            <a:off x="3971839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82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822" name="Rectangle 25"/>
          <p:cNvSpPr/>
          <p:nvPr/>
        </p:nvSpPr>
        <p:spPr>
          <a:xfrm>
            <a:off x="-1" y="0"/>
            <a:ext cx="3986021" cy="6718300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82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4" y="2626488"/>
            <a:ext cx="3056201" cy="1465325"/>
          </a:xfrm>
          <a:prstGeom prst="rect">
            <a:avLst/>
          </a:prstGeom>
        </p:spPr>
        <p:txBody>
          <a:bodyPr/>
          <a:lstStyle>
            <a:lvl1pPr>
              <a:defRPr sz="3092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43585434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0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rot="10800000" flipH="1">
            <a:off x="7001395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831" name="Rectangle 12"/>
          <p:cNvSpPr/>
          <p:nvPr/>
        </p:nvSpPr>
        <p:spPr>
          <a:xfrm>
            <a:off x="0" y="0"/>
            <a:ext cx="7007598" cy="6718300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83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8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610114"/>
            <a:ext cx="6113415" cy="46130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68259253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0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3586939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84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4" y="2626488"/>
            <a:ext cx="3056201" cy="1465325"/>
          </a:xfrm>
          <a:prstGeom prst="rect">
            <a:avLst/>
          </a:prstGeom>
        </p:spPr>
        <p:txBody>
          <a:bodyPr/>
          <a:lstStyle>
            <a:lvl1pPr>
              <a:defRPr sz="3092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42" name="Rectangle 12"/>
          <p:cNvSpPr/>
          <p:nvPr/>
        </p:nvSpPr>
        <p:spPr>
          <a:xfrm>
            <a:off x="3987247" y="-1283"/>
            <a:ext cx="7925355" cy="6719584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84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0951105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0" name="Picture 10" descr="Picture 10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5559196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851" name="Rectangle 11"/>
          <p:cNvSpPr/>
          <p:nvPr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rgbClr val="EEEEEE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852" name="Picture Placeholder 18"/>
          <p:cNvSpPr>
            <a:spLocks noGrp="1"/>
          </p:cNvSpPr>
          <p:nvPr>
            <p:ph type="pic" idx="13"/>
          </p:nvPr>
        </p:nvSpPr>
        <p:spPr>
          <a:xfrm>
            <a:off x="5952414" y="0"/>
            <a:ext cx="5960186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85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1749226"/>
            <a:ext cx="4287834" cy="3219849"/>
          </a:xfrm>
          <a:prstGeom prst="rect">
            <a:avLst/>
          </a:prstGeom>
        </p:spPr>
        <p:txBody>
          <a:bodyPr/>
          <a:lstStyle>
            <a:lvl1pPr>
              <a:defRPr sz="4189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5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9243998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1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7240041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862" name="Rectangle 9"/>
          <p:cNvSpPr/>
          <p:nvPr/>
        </p:nvSpPr>
        <p:spPr>
          <a:xfrm>
            <a:off x="7640346" y="0"/>
            <a:ext cx="4272256" cy="6718300"/>
          </a:xfrm>
          <a:prstGeom prst="rect">
            <a:avLst/>
          </a:prstGeom>
          <a:solidFill>
            <a:srgbClr val="EEEEEE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863" name="Picture Placeholder 5"/>
          <p:cNvSpPr>
            <a:spLocks noGrp="1"/>
          </p:cNvSpPr>
          <p:nvPr>
            <p:ph type="pic" sz="half" idx="13"/>
          </p:nvPr>
        </p:nvSpPr>
        <p:spPr>
          <a:xfrm>
            <a:off x="7640817" y="0"/>
            <a:ext cx="4271785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86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1767889"/>
            <a:ext cx="6104380" cy="3219848"/>
          </a:xfrm>
          <a:prstGeom prst="rect">
            <a:avLst/>
          </a:prstGeom>
        </p:spPr>
        <p:txBody>
          <a:bodyPr/>
          <a:lstStyle>
            <a:lvl1pPr>
              <a:defRPr sz="4189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6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8856004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" name="Freeform 14"/>
          <p:cNvSpPr/>
          <p:nvPr/>
        </p:nvSpPr>
        <p:spPr>
          <a:xfrm>
            <a:off x="1489" y="1284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87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87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2707895"/>
            <a:ext cx="2421838" cy="1287539"/>
          </a:xfrm>
          <a:prstGeom prst="rect">
            <a:avLst/>
          </a:prstGeom>
        </p:spPr>
        <p:txBody>
          <a:bodyPr/>
          <a:lstStyle>
            <a:lvl1pPr>
              <a:defRPr sz="3092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87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3060656" y="3517261"/>
            <a:ext cx="1333898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9065"/>
                </a:lnTo>
                <a:lnTo>
                  <a:pt x="14389" y="0"/>
                </a:lnTo>
                <a:lnTo>
                  <a:pt x="0" y="0"/>
                </a:lnTo>
                <a:close/>
                <a:moveTo>
                  <a:pt x="14550" y="0"/>
                </a:moveTo>
                <a:lnTo>
                  <a:pt x="2057" y="20865"/>
                </a:lnTo>
                <a:lnTo>
                  <a:pt x="0" y="20845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5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49948441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2" name="Freeform 14"/>
          <p:cNvSpPr/>
          <p:nvPr/>
        </p:nvSpPr>
        <p:spPr>
          <a:xfrm>
            <a:off x="0" y="1"/>
            <a:ext cx="3994624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88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2707895"/>
            <a:ext cx="2421838" cy="1287539"/>
          </a:xfrm>
          <a:prstGeom prst="rect">
            <a:avLst/>
          </a:prstGeom>
        </p:spPr>
        <p:txBody>
          <a:bodyPr/>
          <a:lstStyle>
            <a:lvl1pPr>
              <a:defRPr sz="3092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8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88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6216" r="1" b="7714"/>
          <a:stretch>
            <a:fillRect/>
          </a:stretch>
        </p:blipFill>
        <p:spPr>
          <a:xfrm rot="120000">
            <a:off x="2124805" y="3333511"/>
            <a:ext cx="2632870" cy="33912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214" y="21600"/>
                </a:lnTo>
                <a:lnTo>
                  <a:pt x="14808" y="78"/>
                </a:lnTo>
                <a:lnTo>
                  <a:pt x="15186" y="38"/>
                </a:lnTo>
                <a:lnTo>
                  <a:pt x="13402" y="21524"/>
                </a:lnTo>
                <a:lnTo>
                  <a:pt x="1062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40871009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893" name="Pentagon 3"/>
          <p:cNvSpPr/>
          <p:nvPr/>
        </p:nvSpPr>
        <p:spPr>
          <a:xfrm>
            <a:off x="0" y="0"/>
            <a:ext cx="5302555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89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1749226"/>
            <a:ext cx="3969142" cy="3219849"/>
          </a:xfrm>
          <a:prstGeom prst="rect">
            <a:avLst/>
          </a:prstGeom>
        </p:spPr>
        <p:txBody>
          <a:bodyPr/>
          <a:lstStyle>
            <a:lvl1pPr>
              <a:defRPr sz="4189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895" name="Picture 14" descr="Picture 14"/>
          <p:cNvPicPr>
            <a:picLocks noChangeAspect="1"/>
          </p:cNvPicPr>
          <p:nvPr/>
        </p:nvPicPr>
        <p:blipFill>
          <a:blip r:embed="rId2">
            <a:extLst/>
          </a:blip>
          <a:srcRect/>
          <a:stretch>
            <a:fillRect/>
          </a:stretch>
        </p:blipFill>
        <p:spPr>
          <a:xfrm>
            <a:off x="4476532" y="3325247"/>
            <a:ext cx="1268810" cy="34991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5980"/>
                </a:lnTo>
                <a:lnTo>
                  <a:pt x="13992" y="132"/>
                </a:lnTo>
                <a:lnTo>
                  <a:pt x="2324" y="20963"/>
                </a:lnTo>
                <a:lnTo>
                  <a:pt x="0" y="20958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79178499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10" descr="Picture 10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5559196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Rectangle 11"/>
          <p:cNvSpPr/>
          <p:nvPr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rgbClr val="EEEEEE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94" name="Picture Placeholder 18"/>
          <p:cNvSpPr>
            <a:spLocks noGrp="1"/>
          </p:cNvSpPr>
          <p:nvPr>
            <p:ph type="pic" idx="13"/>
          </p:nvPr>
        </p:nvSpPr>
        <p:spPr>
          <a:xfrm>
            <a:off x="5952414" y="0"/>
            <a:ext cx="5960186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9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1749226"/>
            <a:ext cx="4287834" cy="3219849"/>
          </a:xfrm>
          <a:prstGeom prst="rect">
            <a:avLst/>
          </a:prstGeom>
        </p:spPr>
        <p:txBody>
          <a:bodyPr/>
          <a:lstStyle>
            <a:lvl1pPr>
              <a:defRPr sz="4189"/>
            </a:lvl1pPr>
          </a:lstStyle>
          <a:p>
            <a:r>
              <a:t>Текст заголовка</a:t>
            </a:r>
          </a:p>
        </p:txBody>
      </p:sp>
      <p:sp>
        <p:nvSpPr>
          <p:cNvPr id="9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4545646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2" name="Pentagon 3"/>
          <p:cNvSpPr/>
          <p:nvPr/>
        </p:nvSpPr>
        <p:spPr>
          <a:xfrm>
            <a:off x="0" y="0"/>
            <a:ext cx="5302555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90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1749226"/>
            <a:ext cx="3969142" cy="3219849"/>
          </a:xfrm>
          <a:prstGeom prst="rect">
            <a:avLst/>
          </a:prstGeom>
        </p:spPr>
        <p:txBody>
          <a:bodyPr/>
          <a:lstStyle>
            <a:lvl1pPr>
              <a:defRPr sz="4189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0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0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7562" r="1" b="6870"/>
          <a:stretch>
            <a:fillRect/>
          </a:stretch>
        </p:blipFill>
        <p:spPr>
          <a:xfrm>
            <a:off x="3496063" y="3346709"/>
            <a:ext cx="2632869" cy="33714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72" y="21600"/>
                </a:lnTo>
                <a:lnTo>
                  <a:pt x="14271" y="2278"/>
                </a:lnTo>
                <a:lnTo>
                  <a:pt x="14248" y="2276"/>
                </a:lnTo>
                <a:lnTo>
                  <a:pt x="14821" y="79"/>
                </a:lnTo>
                <a:lnTo>
                  <a:pt x="14798" y="0"/>
                </a:lnTo>
                <a:lnTo>
                  <a:pt x="0" y="0"/>
                </a:lnTo>
                <a:close/>
                <a:moveTo>
                  <a:pt x="16355" y="0"/>
                </a:moveTo>
                <a:lnTo>
                  <a:pt x="16215" y="2382"/>
                </a:lnTo>
                <a:lnTo>
                  <a:pt x="14564" y="2293"/>
                </a:lnTo>
                <a:lnTo>
                  <a:pt x="12109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355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08304687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913" name="Pentagon 8"/>
          <p:cNvSpPr/>
          <p:nvPr/>
        </p:nvSpPr>
        <p:spPr>
          <a:xfrm>
            <a:off x="0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91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610114"/>
            <a:ext cx="4566544" cy="46130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91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5274106" y="3516484"/>
            <a:ext cx="1333898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454"/>
                </a:lnTo>
                <a:lnTo>
                  <a:pt x="14370" y="0"/>
                </a:lnTo>
                <a:lnTo>
                  <a:pt x="0" y="0"/>
                </a:lnTo>
                <a:close/>
                <a:moveTo>
                  <a:pt x="14563" y="0"/>
                </a:moveTo>
                <a:lnTo>
                  <a:pt x="2005" y="21204"/>
                </a:lnTo>
                <a:lnTo>
                  <a:pt x="0" y="21204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63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40950217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" name="Pentagon 8"/>
          <p:cNvSpPr/>
          <p:nvPr/>
        </p:nvSpPr>
        <p:spPr>
          <a:xfrm>
            <a:off x="0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92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1" y="610114"/>
            <a:ext cx="4566544" cy="46130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2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2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9052" r="1" b="6867"/>
          <a:stretch>
            <a:fillRect/>
          </a:stretch>
        </p:blipFill>
        <p:spPr>
          <a:xfrm rot="120000">
            <a:off x="4357961" y="3338384"/>
            <a:ext cx="2632869" cy="33861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59" y="21600"/>
                </a:lnTo>
                <a:lnTo>
                  <a:pt x="14762" y="0"/>
                </a:lnTo>
                <a:lnTo>
                  <a:pt x="0" y="0"/>
                </a:lnTo>
                <a:close/>
                <a:moveTo>
                  <a:pt x="17126" y="0"/>
                </a:moveTo>
                <a:lnTo>
                  <a:pt x="15349" y="2663"/>
                </a:lnTo>
                <a:lnTo>
                  <a:pt x="14883" y="2704"/>
                </a:lnTo>
                <a:lnTo>
                  <a:pt x="15687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7126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98122569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Freeform 18"/>
          <p:cNvSpPr/>
          <p:nvPr/>
        </p:nvSpPr>
        <p:spPr>
          <a:xfrm>
            <a:off x="0" y="1"/>
            <a:ext cx="8252680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93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93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610114"/>
            <a:ext cx="6113415" cy="46130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pic>
        <p:nvPicPr>
          <p:cNvPr id="935" name="Picture 15" descr="Picture 15"/>
          <p:cNvPicPr>
            <a:picLocks noChangeAspect="1"/>
          </p:cNvPicPr>
          <p:nvPr/>
        </p:nvPicPr>
        <p:blipFill>
          <a:blip r:embed="rId2">
            <a:extLst/>
          </a:blip>
          <a:srcRect r="4" b="4"/>
          <a:stretch>
            <a:fillRect/>
          </a:stretch>
        </p:blipFill>
        <p:spPr>
          <a:xfrm>
            <a:off x="7318685" y="3516484"/>
            <a:ext cx="1333897" cy="33139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2026"/>
                </a:lnTo>
                <a:lnTo>
                  <a:pt x="13490" y="0"/>
                </a:lnTo>
                <a:lnTo>
                  <a:pt x="0" y="0"/>
                </a:lnTo>
                <a:close/>
                <a:moveTo>
                  <a:pt x="14087" y="0"/>
                </a:moveTo>
                <a:lnTo>
                  <a:pt x="13772" y="548"/>
                </a:lnTo>
                <a:lnTo>
                  <a:pt x="14203" y="0"/>
                </a:lnTo>
                <a:lnTo>
                  <a:pt x="14087" y="0"/>
                </a:lnTo>
                <a:close/>
                <a:moveTo>
                  <a:pt x="14421" y="0"/>
                </a:moveTo>
                <a:lnTo>
                  <a:pt x="2050" y="21507"/>
                </a:lnTo>
                <a:lnTo>
                  <a:pt x="1761" y="21507"/>
                </a:lnTo>
                <a:lnTo>
                  <a:pt x="1709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421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31639074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" name="Freeform 18"/>
          <p:cNvSpPr/>
          <p:nvPr/>
        </p:nvSpPr>
        <p:spPr>
          <a:xfrm>
            <a:off x="0" y="1"/>
            <a:ext cx="8252680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94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610114"/>
            <a:ext cx="6113415" cy="46130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4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4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t="9052" r="1" b="6867"/>
          <a:stretch>
            <a:fillRect/>
          </a:stretch>
        </p:blipFill>
        <p:spPr>
          <a:xfrm rot="120000">
            <a:off x="6417121" y="3338384"/>
            <a:ext cx="2632869" cy="33861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30" y="21600"/>
                </a:lnTo>
                <a:lnTo>
                  <a:pt x="14632" y="0"/>
                </a:lnTo>
                <a:lnTo>
                  <a:pt x="0" y="0"/>
                </a:lnTo>
                <a:close/>
                <a:moveTo>
                  <a:pt x="16579" y="0"/>
                </a:moveTo>
                <a:lnTo>
                  <a:pt x="11503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579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49608183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95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3748390"/>
            <a:ext cx="10682649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785"/>
              </a:lnSpc>
              <a:defRPr sz="5186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31183756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61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962" name="Rectangle 5"/>
          <p:cNvSpPr/>
          <p:nvPr/>
        </p:nvSpPr>
        <p:spPr>
          <a:xfrm>
            <a:off x="615561" y="612734"/>
            <a:ext cx="911316" cy="913690"/>
          </a:xfrm>
          <a:prstGeom prst="rect">
            <a:avLst/>
          </a:prstGeom>
          <a:ln w="10795">
            <a:solidFill>
              <a:srgbClr val="888888"/>
            </a:solidFill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96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3748390"/>
            <a:ext cx="10682649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785"/>
              </a:lnSpc>
              <a:defRPr sz="5186">
                <a:solidFill>
                  <a:srgbClr val="888888"/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62474561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Quote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71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r="3623" b="1258"/>
          <a:stretch>
            <a:fillRect/>
          </a:stretch>
        </p:blipFill>
        <p:spPr>
          <a:xfrm rot="16200000" flipH="1">
            <a:off x="6640624" y="112217"/>
            <a:ext cx="753666" cy="9790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984"/>
                </a:lnTo>
                <a:lnTo>
                  <a:pt x="6085" y="2155"/>
                </a:lnTo>
                <a:lnTo>
                  <a:pt x="5551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972" name="Freeform 58"/>
          <p:cNvSpPr/>
          <p:nvPr/>
        </p:nvSpPr>
        <p:spPr>
          <a:xfrm flipH="1">
            <a:off x="1" y="0"/>
            <a:ext cx="11912601" cy="57478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18208"/>
                </a:lnTo>
                <a:lnTo>
                  <a:pt x="16019" y="18208"/>
                </a:lnTo>
                <a:lnTo>
                  <a:pt x="17671" y="21600"/>
                </a:lnTo>
                <a:lnTo>
                  <a:pt x="17671" y="18208"/>
                </a:lnTo>
                <a:lnTo>
                  <a:pt x="21600" y="18208"/>
                </a:lnTo>
                <a:close/>
              </a:path>
            </a:pathLst>
          </a:custGeom>
          <a:solidFill>
            <a:srgbClr val="9A9A9A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2200">
                <a:solidFill>
                  <a:srgbClr val="000000"/>
                </a:solidFill>
              </a:defRPr>
            </a:pPr>
            <a:endParaRPr sz="2195"/>
          </a:p>
        </p:txBody>
      </p:sp>
    </p:spTree>
    <p:extLst>
      <p:ext uri="{BB962C8B-B14F-4D97-AF65-F5344CB8AC3E}">
        <p14:creationId xmlns:p14="http://schemas.microsoft.com/office/powerpoint/2010/main" val="2226563440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Special gray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98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610114"/>
            <a:ext cx="10682649" cy="461307"/>
          </a:xfrm>
          <a:prstGeom prst="rect">
            <a:avLst/>
          </a:prstGeom>
        </p:spPr>
        <p:txBody>
          <a:bodyPr anchor="t"/>
          <a:lstStyle/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55659759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88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21961784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flipH="1">
            <a:off x="7240041" y="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104" name="Rectangle 9"/>
          <p:cNvSpPr/>
          <p:nvPr/>
        </p:nvSpPr>
        <p:spPr>
          <a:xfrm>
            <a:off x="7640346" y="0"/>
            <a:ext cx="4272256" cy="6718300"/>
          </a:xfrm>
          <a:prstGeom prst="rect">
            <a:avLst/>
          </a:prstGeom>
          <a:solidFill>
            <a:srgbClr val="EEEEEE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05" name="Picture Placeholder 5"/>
          <p:cNvSpPr>
            <a:spLocks noGrp="1"/>
          </p:cNvSpPr>
          <p:nvPr>
            <p:ph type="pic" sz="half" idx="13"/>
          </p:nvPr>
        </p:nvSpPr>
        <p:spPr>
          <a:xfrm>
            <a:off x="7640817" y="0"/>
            <a:ext cx="4271785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0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1767889"/>
            <a:ext cx="6104380" cy="3219848"/>
          </a:xfrm>
          <a:prstGeom prst="rect">
            <a:avLst/>
          </a:prstGeom>
        </p:spPr>
        <p:txBody>
          <a:bodyPr/>
          <a:lstStyle>
            <a:lvl1pPr>
              <a:defRPr sz="4189"/>
            </a:lvl1pPr>
          </a:lstStyle>
          <a:p>
            <a:r>
              <a:t>Текст заголовка</a:t>
            </a:r>
          </a:p>
        </p:txBody>
      </p:sp>
      <p:sp>
        <p:nvSpPr>
          <p:cNvPr id="10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49078208"/>
      </p:ext>
    </p:extLst>
  </p:cSld>
  <p:clrMapOvr>
    <a:masterClrMapping/>
  </p:clrMapOvr>
  <p:transition spd="med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6515"/>
            <a:ext cx="141065" cy="1381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83114949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003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50675808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0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" y="0"/>
            <a:ext cx="11910391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1011" name="Rectangle 8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12700">
            <a:miter lim="400000"/>
          </a:ln>
        </p:spPr>
        <p:txBody>
          <a:bodyPr lIns="45600" rIns="45600" anchor="ctr"/>
          <a:lstStyle/>
          <a:p>
            <a:pPr algn="ctr">
              <a:defRPr sz="2200">
                <a:solidFill>
                  <a:srgbClr val="FFFFFF"/>
                </a:solidFill>
              </a:defRPr>
            </a:pPr>
            <a:endParaRPr sz="2195"/>
          </a:p>
        </p:txBody>
      </p:sp>
      <p:pic>
        <p:nvPicPr>
          <p:cNvPr id="1012" name="Shape 54" descr="Shape 5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33497" y="4957431"/>
            <a:ext cx="3923261" cy="12812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013" name="Shape 56" descr="Shape 56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01258" y="550596"/>
            <a:ext cx="1315863" cy="2541665"/>
          </a:xfrm>
          <a:prstGeom prst="rect">
            <a:avLst/>
          </a:prstGeom>
          <a:ln w="12700">
            <a:miter lim="400000"/>
          </a:ln>
        </p:spPr>
      </p:pic>
      <p:sp>
        <p:nvSpPr>
          <p:cNvPr id="101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257482" y="6088594"/>
            <a:ext cx="279883" cy="276549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1190491">
              <a:defRPr sz="1197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56759965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Layout gu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022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grpSp>
        <p:nvGrpSpPr>
          <p:cNvPr id="1068" name="Group 48"/>
          <p:cNvGrpSpPr/>
          <p:nvPr/>
        </p:nvGrpSpPr>
        <p:grpSpPr>
          <a:xfrm>
            <a:off x="-587" y="-3"/>
            <a:ext cx="11914362" cy="6718304"/>
            <a:chOff x="-1" y="-1"/>
            <a:chExt cx="11914361" cy="6718302"/>
          </a:xfrm>
        </p:grpSpPr>
        <p:sp>
          <p:nvSpPr>
            <p:cNvPr id="1023" name="No fly zone"/>
            <p:cNvSpPr/>
            <p:nvPr/>
          </p:nvSpPr>
          <p:spPr>
            <a:xfrm>
              <a:off x="586" y="-1"/>
              <a:ext cx="11913774" cy="67183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6" y="1962"/>
                  </a:moveTo>
                  <a:lnTo>
                    <a:pt x="1116" y="19403"/>
                  </a:lnTo>
                  <a:lnTo>
                    <a:pt x="20482" y="19403"/>
                  </a:lnTo>
                  <a:lnTo>
                    <a:pt x="20482" y="1962"/>
                  </a:lnTo>
                  <a:close/>
                  <a:moveTo>
                    <a:pt x="0" y="0"/>
                  </a:moveTo>
                  <a:lnTo>
                    <a:pt x="21600" y="0"/>
                  </a:lnTo>
                  <a:lnTo>
                    <a:pt x="21600" y="1962"/>
                  </a:lnTo>
                  <a:lnTo>
                    <a:pt x="21598" y="1962"/>
                  </a:lnTo>
                  <a:lnTo>
                    <a:pt x="21598" y="19403"/>
                  </a:lnTo>
                  <a:lnTo>
                    <a:pt x="21600" y="19403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1962"/>
                  </a:lnTo>
                  <a:lnTo>
                    <a:pt x="0" y="1962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/>
              </a:pPr>
              <a:endParaRPr sz="2195"/>
            </a:p>
          </p:txBody>
        </p:sp>
        <p:grpSp>
          <p:nvGrpSpPr>
            <p:cNvPr id="1044" name="Baselines / anchors"/>
            <p:cNvGrpSpPr/>
            <p:nvPr/>
          </p:nvGrpSpPr>
          <p:grpSpPr>
            <a:xfrm>
              <a:off x="-1" y="610114"/>
              <a:ext cx="11913774" cy="5424014"/>
              <a:chOff x="0" y="0"/>
              <a:chExt cx="11913772" cy="5424013"/>
            </a:xfrm>
          </p:grpSpPr>
          <p:sp>
            <p:nvSpPr>
              <p:cNvPr id="1024" name="Straight Connector 76"/>
              <p:cNvSpPr/>
              <p:nvPr/>
            </p:nvSpPr>
            <p:spPr>
              <a:xfrm>
                <a:off x="0" y="-1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25" name="Straight Connector 77"/>
              <p:cNvSpPr/>
              <p:nvPr/>
            </p:nvSpPr>
            <p:spPr>
              <a:xfrm>
                <a:off x="0" y="285474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26" name="Straight Connector 78"/>
              <p:cNvSpPr/>
              <p:nvPr/>
            </p:nvSpPr>
            <p:spPr>
              <a:xfrm>
                <a:off x="0" y="57094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27" name="Straight Connector 79"/>
              <p:cNvSpPr/>
              <p:nvPr/>
            </p:nvSpPr>
            <p:spPr>
              <a:xfrm>
                <a:off x="0" y="85697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28" name="Straight Connector 80"/>
              <p:cNvSpPr/>
              <p:nvPr/>
            </p:nvSpPr>
            <p:spPr>
              <a:xfrm>
                <a:off x="0" y="1141899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29" name="Straight Connector 81"/>
              <p:cNvSpPr/>
              <p:nvPr/>
            </p:nvSpPr>
            <p:spPr>
              <a:xfrm>
                <a:off x="0" y="1427374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30" name="Straight Connector 82"/>
              <p:cNvSpPr/>
              <p:nvPr/>
            </p:nvSpPr>
            <p:spPr>
              <a:xfrm>
                <a:off x="0" y="171284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31" name="Straight Connector 83"/>
              <p:cNvSpPr/>
              <p:nvPr/>
            </p:nvSpPr>
            <p:spPr>
              <a:xfrm>
                <a:off x="0" y="199832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32" name="Straight Connector 84"/>
              <p:cNvSpPr/>
              <p:nvPr/>
            </p:nvSpPr>
            <p:spPr>
              <a:xfrm>
                <a:off x="0" y="228379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33" name="Straight Connector 85"/>
              <p:cNvSpPr/>
              <p:nvPr/>
            </p:nvSpPr>
            <p:spPr>
              <a:xfrm>
                <a:off x="0" y="256927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34" name="Straight Connector 86"/>
              <p:cNvSpPr/>
              <p:nvPr/>
            </p:nvSpPr>
            <p:spPr>
              <a:xfrm>
                <a:off x="0" y="2854748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35" name="Straight Connector 87"/>
              <p:cNvSpPr/>
              <p:nvPr/>
            </p:nvSpPr>
            <p:spPr>
              <a:xfrm>
                <a:off x="0" y="314022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36" name="Straight Connector 88"/>
              <p:cNvSpPr/>
              <p:nvPr/>
            </p:nvSpPr>
            <p:spPr>
              <a:xfrm>
                <a:off x="0" y="342569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37" name="Straight Connector 89"/>
              <p:cNvSpPr/>
              <p:nvPr/>
            </p:nvSpPr>
            <p:spPr>
              <a:xfrm>
                <a:off x="0" y="371117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38" name="Straight Connector 90"/>
              <p:cNvSpPr/>
              <p:nvPr/>
            </p:nvSpPr>
            <p:spPr>
              <a:xfrm>
                <a:off x="0" y="399664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39" name="Straight Connector 91"/>
              <p:cNvSpPr/>
              <p:nvPr/>
            </p:nvSpPr>
            <p:spPr>
              <a:xfrm>
                <a:off x="0" y="4282122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40" name="Straight Connector 133"/>
              <p:cNvSpPr/>
              <p:nvPr/>
            </p:nvSpPr>
            <p:spPr>
              <a:xfrm>
                <a:off x="0" y="456759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41" name="Straight Connector 134"/>
              <p:cNvSpPr/>
              <p:nvPr/>
            </p:nvSpPr>
            <p:spPr>
              <a:xfrm>
                <a:off x="0" y="4853072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42" name="Straight Connector 135"/>
              <p:cNvSpPr/>
              <p:nvPr/>
            </p:nvSpPr>
            <p:spPr>
              <a:xfrm>
                <a:off x="0" y="5138547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  <p:sp>
            <p:nvSpPr>
              <p:cNvPr id="1043" name="Straight Connector 136"/>
              <p:cNvSpPr/>
              <p:nvPr/>
            </p:nvSpPr>
            <p:spPr>
              <a:xfrm>
                <a:off x="0" y="5424013"/>
                <a:ext cx="11913773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sz="1795"/>
              </a:p>
            </p:txBody>
          </p:sp>
        </p:grpSp>
        <p:grpSp>
          <p:nvGrpSpPr>
            <p:cNvPr id="1056" name="Gutter space"/>
            <p:cNvGrpSpPr/>
            <p:nvPr/>
          </p:nvGrpSpPr>
          <p:grpSpPr>
            <a:xfrm>
              <a:off x="1248321" y="610849"/>
              <a:ext cx="9417131" cy="5424256"/>
              <a:chOff x="0" y="0"/>
              <a:chExt cx="9417129" cy="5424254"/>
            </a:xfrm>
          </p:grpSpPr>
          <p:sp>
            <p:nvSpPr>
              <p:cNvPr id="1045" name="Rectangle 34"/>
              <p:cNvSpPr/>
              <p:nvPr/>
            </p:nvSpPr>
            <p:spPr>
              <a:xfrm>
                <a:off x="5481437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46" name="Rectangle 35"/>
              <p:cNvSpPr/>
              <p:nvPr/>
            </p:nvSpPr>
            <p:spPr>
              <a:xfrm>
                <a:off x="7308584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47" name="Rectangle 36"/>
              <p:cNvSpPr/>
              <p:nvPr/>
            </p:nvSpPr>
            <p:spPr>
              <a:xfrm>
                <a:off x="6395010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48" name="Rectangle 37"/>
              <p:cNvSpPr/>
              <p:nvPr/>
            </p:nvSpPr>
            <p:spPr>
              <a:xfrm>
                <a:off x="8222157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49" name="Rectangle 38"/>
              <p:cNvSpPr/>
              <p:nvPr/>
            </p:nvSpPr>
            <p:spPr>
              <a:xfrm>
                <a:off x="9135729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50" name="Rectangle 39"/>
              <p:cNvSpPr/>
              <p:nvPr/>
            </p:nvSpPr>
            <p:spPr>
              <a:xfrm>
                <a:off x="4567864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51" name="Rectangle 40"/>
              <p:cNvSpPr/>
              <p:nvPr/>
            </p:nvSpPr>
            <p:spPr>
              <a:xfrm>
                <a:off x="0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52" name="Rectangle 41"/>
              <p:cNvSpPr/>
              <p:nvPr/>
            </p:nvSpPr>
            <p:spPr>
              <a:xfrm>
                <a:off x="913573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53" name="Rectangle 42"/>
              <p:cNvSpPr/>
              <p:nvPr/>
            </p:nvSpPr>
            <p:spPr>
              <a:xfrm>
                <a:off x="1827146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54" name="Rectangle 43"/>
              <p:cNvSpPr/>
              <p:nvPr/>
            </p:nvSpPr>
            <p:spPr>
              <a:xfrm>
                <a:off x="2740718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55" name="Rectangle 44"/>
              <p:cNvSpPr/>
              <p:nvPr/>
            </p:nvSpPr>
            <p:spPr>
              <a:xfrm>
                <a:off x="3654292" y="0"/>
                <a:ext cx="281401" cy="542425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</p:grpSp>
        <p:sp>
          <p:nvSpPr>
            <p:cNvPr id="1057" name="Slide edges"/>
            <p:cNvSpPr/>
            <p:nvPr/>
          </p:nvSpPr>
          <p:spPr>
            <a:xfrm>
              <a:off x="-1" y="0"/>
              <a:ext cx="11913774" cy="67183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593" y="21587"/>
                  </a:moveTo>
                  <a:lnTo>
                    <a:pt x="21593" y="21568"/>
                  </a:lnTo>
                  <a:lnTo>
                    <a:pt x="18" y="21568"/>
                  </a:lnTo>
                  <a:lnTo>
                    <a:pt x="18" y="32"/>
                  </a:lnTo>
                  <a:lnTo>
                    <a:pt x="21582" y="32"/>
                  </a:lnTo>
                  <a:lnTo>
                    <a:pt x="21582" y="21587"/>
                  </a:lnTo>
                  <a:lnTo>
                    <a:pt x="21593" y="21587"/>
                  </a:lnTo>
                  <a:lnTo>
                    <a:pt x="21593" y="21568"/>
                  </a:lnTo>
                  <a:lnTo>
                    <a:pt x="21593" y="21587"/>
                  </a:lnTo>
                  <a:lnTo>
                    <a:pt x="21600" y="21587"/>
                  </a:lnTo>
                  <a:lnTo>
                    <a:pt x="2160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21587"/>
                  </a:lnTo>
                  <a:lnTo>
                    <a:pt x="21593" y="21587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891157">
                <a:defRPr sz="1700">
                  <a:solidFill>
                    <a:srgbClr val="575757"/>
                  </a:solidFill>
                </a:defRPr>
              </a:pPr>
              <a:endParaRPr sz="1695"/>
            </a:p>
          </p:txBody>
        </p:sp>
        <p:sp>
          <p:nvSpPr>
            <p:cNvPr id="1058" name="Footnote measure"/>
            <p:cNvSpPr/>
            <p:nvPr/>
          </p:nvSpPr>
          <p:spPr>
            <a:xfrm>
              <a:off x="615562" y="6034127"/>
              <a:ext cx="10682649" cy="37087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>
                  <a:solidFill>
                    <a:srgbClr val="000000"/>
                  </a:solidFill>
                </a:defRPr>
              </a:pPr>
              <a:endParaRPr sz="2195"/>
            </a:p>
          </p:txBody>
        </p:sp>
        <p:sp>
          <p:nvSpPr>
            <p:cNvPr id="1059" name="Whitespace measure"/>
            <p:cNvSpPr/>
            <p:nvPr/>
          </p:nvSpPr>
          <p:spPr>
            <a:xfrm>
              <a:off x="615562" y="1467094"/>
              <a:ext cx="10681700" cy="571321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200">
                  <a:solidFill>
                    <a:srgbClr val="000000"/>
                  </a:solidFill>
                </a:defRPr>
              </a:pPr>
              <a:endParaRPr sz="2195"/>
            </a:p>
          </p:txBody>
        </p:sp>
        <p:grpSp>
          <p:nvGrpSpPr>
            <p:cNvPr id="1065" name="Five column measure"/>
            <p:cNvGrpSpPr/>
            <p:nvPr/>
          </p:nvGrpSpPr>
          <p:grpSpPr>
            <a:xfrm>
              <a:off x="615562" y="5853407"/>
              <a:ext cx="10682649" cy="77916"/>
              <a:chOff x="0" y="0"/>
              <a:chExt cx="10682647" cy="77914"/>
            </a:xfrm>
          </p:grpSpPr>
          <p:sp>
            <p:nvSpPr>
              <p:cNvPr id="1060" name="Rectangle 5"/>
              <p:cNvSpPr/>
              <p:nvPr/>
            </p:nvSpPr>
            <p:spPr>
              <a:xfrm>
                <a:off x="2199148" y="0"/>
                <a:ext cx="1886053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61" name="Rectangle 7"/>
              <p:cNvSpPr/>
              <p:nvPr/>
            </p:nvSpPr>
            <p:spPr>
              <a:xfrm>
                <a:off x="8790617" y="0"/>
                <a:ext cx="1892031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62" name="Rectangle 9"/>
              <p:cNvSpPr/>
              <p:nvPr/>
            </p:nvSpPr>
            <p:spPr>
              <a:xfrm>
                <a:off x="6588480" y="0"/>
                <a:ext cx="1892031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63" name="Rectangle 11"/>
              <p:cNvSpPr/>
              <p:nvPr/>
            </p:nvSpPr>
            <p:spPr>
              <a:xfrm>
                <a:off x="4395308" y="0"/>
                <a:ext cx="1883064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  <p:sp>
            <p:nvSpPr>
              <p:cNvPr id="1064" name="Rectangle 13"/>
              <p:cNvSpPr/>
              <p:nvPr/>
            </p:nvSpPr>
            <p:spPr>
              <a:xfrm>
                <a:off x="-1" y="0"/>
                <a:ext cx="1889042" cy="77915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2200">
                    <a:solidFill>
                      <a:srgbClr val="000000"/>
                    </a:solidFill>
                  </a:defRPr>
                </a:pPr>
                <a:endParaRPr sz="2195"/>
              </a:p>
            </p:txBody>
          </p:sp>
        </p:grpSp>
        <p:sp>
          <p:nvSpPr>
            <p:cNvPr id="1066" name="Live area"/>
            <p:cNvSpPr/>
            <p:nvPr/>
          </p:nvSpPr>
          <p:spPr>
            <a:xfrm>
              <a:off x="615562" y="2038415"/>
              <a:ext cx="10682649" cy="3995714"/>
            </a:xfrm>
            <a:prstGeom prst="rect">
              <a:avLst/>
            </a:prstGeom>
            <a:noFill/>
            <a:ln w="9525" cap="flat">
              <a:solidFill>
                <a:srgbClr val="E71C57">
                  <a:alpha val="35000"/>
                </a:srgbClr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898"/>
                </a:spcBef>
                <a:defRPr sz="1100">
                  <a:solidFill>
                    <a:srgbClr val="FFFFFF"/>
                  </a:solidFill>
                </a:defRPr>
              </a:pPr>
              <a:endParaRPr sz="1097"/>
            </a:p>
          </p:txBody>
        </p:sp>
        <p:sp>
          <p:nvSpPr>
            <p:cNvPr id="1067" name="Footnote example"/>
            <p:cNvSpPr txBox="1"/>
            <p:nvPr/>
          </p:nvSpPr>
          <p:spPr>
            <a:xfrm>
              <a:off x="616147" y="6053135"/>
              <a:ext cx="9918581" cy="3731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b">
              <a:spAutoFit/>
            </a:bodyPr>
            <a:lstStyle/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1. xxxx  2. xxxx  3. xxxx</a:t>
              </a:r>
            </a:p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Note: List footnotes in numerical order. Footnote numbers are not bracketed. Use 10pt font. Do not put a period at the end of the note or the source</a:t>
              </a:r>
              <a:endParaRPr sz="898">
                <a:solidFill>
                  <a:srgbClr val="000000"/>
                </a:solidFill>
              </a:endParaRPr>
            </a:p>
            <a:p>
              <a:pPr defTabSz="891157">
                <a:lnSpc>
                  <a:spcPct val="90000"/>
                </a:lnSpc>
                <a:defRPr sz="900">
                  <a:solidFill>
                    <a:srgbClr val="808080"/>
                  </a:solidFill>
                </a:defRPr>
              </a:pPr>
              <a:r>
                <a:rPr sz="898"/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7432966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" y="0"/>
            <a:ext cx="11910391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1076" name="Rectangle 9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12700">
            <a:miter lim="400000"/>
          </a:ln>
        </p:spPr>
        <p:txBody>
          <a:bodyPr lIns="45600" rIns="45600" anchor="ctr"/>
          <a:lstStyle/>
          <a:p>
            <a:pPr algn="ctr">
              <a:defRPr sz="2200">
                <a:solidFill>
                  <a:srgbClr val="FFFFFF"/>
                </a:solidFill>
              </a:defRPr>
            </a:pPr>
            <a:endParaRPr sz="2195"/>
          </a:p>
        </p:txBody>
      </p:sp>
      <p:pic>
        <p:nvPicPr>
          <p:cNvPr id="1077" name="Shape 54" descr="Shape 5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33497" y="4957431"/>
            <a:ext cx="3923261" cy="12812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078" name="Shape 56" descr="Shape 56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01258" y="550596"/>
            <a:ext cx="1315863" cy="2541665"/>
          </a:xfrm>
          <a:prstGeom prst="rect">
            <a:avLst/>
          </a:prstGeom>
          <a:ln w="12700">
            <a:miter lim="400000"/>
          </a:ln>
        </p:spPr>
      </p:pic>
      <p:sp>
        <p:nvSpPr>
          <p:cNvPr id="10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821664" y="1993159"/>
            <a:ext cx="5567578" cy="1366089"/>
          </a:xfrm>
          <a:prstGeom prst="rect">
            <a:avLst/>
          </a:prstGeom>
        </p:spPr>
        <p:txBody>
          <a:bodyPr anchor="t"/>
          <a:lstStyle>
            <a:lvl1pPr>
              <a:defRPr sz="3491" b="1"/>
            </a:lvl1pPr>
          </a:lstStyle>
          <a:p>
            <a:r>
              <a:t>Текст заголовка</a:t>
            </a:r>
          </a:p>
        </p:txBody>
      </p:sp>
      <p:sp>
        <p:nvSpPr>
          <p:cNvPr id="108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257482" y="6088594"/>
            <a:ext cx="279883" cy="276549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1190491">
              <a:defRPr sz="1197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7874741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088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089" name="Rectangle 8"/>
          <p:cNvSpPr/>
          <p:nvPr/>
        </p:nvSpPr>
        <p:spPr>
          <a:xfrm>
            <a:off x="0" y="-1"/>
            <a:ext cx="11912600" cy="1132160"/>
          </a:xfrm>
          <a:prstGeom prst="rect">
            <a:avLst/>
          </a:prstGeom>
          <a:solidFill>
            <a:schemeClr val="accent2">
              <a:lumOff val="21764"/>
            </a:schemeClr>
          </a:solidFill>
          <a:ln cap="rnd">
            <a:solidFill>
              <a:schemeClr val="accent2">
                <a:lumOff val="21764"/>
              </a:schemeClr>
            </a:solidFill>
          </a:ln>
        </p:spPr>
        <p:txBody>
          <a:bodyPr lIns="45600" rIns="45600" anchor="ctr"/>
          <a:lstStyle/>
          <a:p>
            <a:pPr algn="ctr"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09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403266"/>
            <a:ext cx="10676591" cy="325629"/>
          </a:xfrm>
          <a:prstGeom prst="rect">
            <a:avLst/>
          </a:prstGeom>
        </p:spPr>
        <p:txBody>
          <a:bodyPr/>
          <a:lstStyle>
            <a:lvl1pPr>
              <a:defRPr sz="2294" b="1"/>
            </a:lvl1pPr>
          </a:lstStyle>
          <a:p>
            <a:r>
              <a:t>Текст заголовка</a:t>
            </a:r>
          </a:p>
        </p:txBody>
      </p:sp>
      <p:pic>
        <p:nvPicPr>
          <p:cNvPr id="1091" name="Picture 10" descr="Picture 10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85695192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099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100" name="Rectangle 6"/>
          <p:cNvSpPr/>
          <p:nvPr/>
        </p:nvSpPr>
        <p:spPr>
          <a:xfrm>
            <a:off x="0" y="-1283"/>
            <a:ext cx="4586822" cy="6719584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600" rIns="45600"/>
          <a:lstStyle/>
          <a:p>
            <a:pPr>
              <a:lnSpc>
                <a:spcPct val="90000"/>
              </a:lnSpc>
              <a:spcBef>
                <a:spcPts val="898"/>
              </a:spcBef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10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5563" y="2115007"/>
            <a:ext cx="3658200" cy="5306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Tx/>
              <a:buSzTx/>
              <a:buFontTx/>
              <a:buNone/>
              <a:defRPr sz="1496"/>
            </a:lvl1pPr>
            <a:lvl2pPr marL="0" indent="445578">
              <a:buClrTx/>
              <a:buSzTx/>
              <a:buFontTx/>
              <a:buNone/>
              <a:defRPr sz="1496"/>
            </a:lvl2pPr>
            <a:lvl3pPr marL="0" indent="891157">
              <a:buClrTx/>
              <a:buSzTx/>
              <a:buFontTx/>
              <a:buNone/>
              <a:defRPr sz="1496"/>
            </a:lvl3pPr>
            <a:lvl4pPr indent="1336736">
              <a:buClrTx/>
              <a:buSzTx/>
              <a:buFontTx/>
              <a:buNone/>
              <a:defRPr sz="1496"/>
            </a:lvl4pPr>
            <a:lvl5pPr indent="1782315">
              <a:buClrTx/>
              <a:buSzTx/>
              <a:buFontTx/>
              <a:buNone/>
              <a:defRPr sz="1496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0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1202053"/>
            <a:ext cx="3658200" cy="651257"/>
          </a:xfrm>
          <a:prstGeom prst="rect">
            <a:avLst/>
          </a:prstGeom>
        </p:spPr>
        <p:txBody>
          <a:bodyPr anchor="t"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14601621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Section header box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110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1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255300" y="2613693"/>
            <a:ext cx="9400022" cy="3135821"/>
          </a:xfrm>
          <a:prstGeom prst="rect">
            <a:avLst/>
          </a:prstGeom>
        </p:spPr>
        <p:txBody>
          <a:bodyPr lIns="137160" tIns="137160" rIns="137160" bIns="137160" anchor="b"/>
          <a:lstStyle>
            <a:lvl1pPr>
              <a:lnSpc>
                <a:spcPts val="5785"/>
              </a:lnSpc>
              <a:defRPr sz="5186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12" name="Rectangle 10"/>
          <p:cNvSpPr/>
          <p:nvPr/>
        </p:nvSpPr>
        <p:spPr>
          <a:xfrm>
            <a:off x="1251343" y="1395072"/>
            <a:ext cx="929912" cy="932334"/>
          </a:xfrm>
          <a:prstGeom prst="rect">
            <a:avLst/>
          </a:prstGeom>
          <a:ln w="10795">
            <a:solidFill>
              <a:srgbClr val="888888"/>
            </a:solidFill>
            <a:miter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</p:spTree>
    <p:extLst>
      <p:ext uri="{BB962C8B-B14F-4D97-AF65-F5344CB8AC3E}">
        <p14:creationId xmlns:p14="http://schemas.microsoft.com/office/powerpoint/2010/main" val="1414738754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Section header 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120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t="571" r="65" b="32594"/>
          <a:stretch>
            <a:fillRect/>
          </a:stretch>
        </p:blipFill>
        <p:spPr>
          <a:xfrm>
            <a:off x="11106842" y="100428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11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3" y="3748848"/>
            <a:ext cx="10686165" cy="1999621"/>
          </a:xfrm>
          <a:prstGeom prst="rect">
            <a:avLst/>
          </a:prstGeom>
        </p:spPr>
        <p:txBody>
          <a:bodyPr anchor="t"/>
          <a:lstStyle>
            <a:lvl1pPr>
              <a:defRPr sz="5186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22" name="Straight Connector 9"/>
          <p:cNvSpPr/>
          <p:nvPr/>
        </p:nvSpPr>
        <p:spPr>
          <a:xfrm>
            <a:off x="615564" y="3605053"/>
            <a:ext cx="11293703" cy="1"/>
          </a:xfrm>
          <a:prstGeom prst="line">
            <a:avLst/>
          </a:prstGeom>
          <a:ln w="19050">
            <a:solidFill>
              <a:srgbClr val="888888"/>
            </a:solidFill>
            <a:miter/>
          </a:ln>
        </p:spPr>
        <p:txBody>
          <a:bodyPr lIns="45600" rIns="45600"/>
          <a:lstStyle/>
          <a:p>
            <a:endParaRPr sz="1795"/>
          </a:p>
        </p:txBody>
      </p:sp>
    </p:spTree>
    <p:extLst>
      <p:ext uri="{BB962C8B-B14F-4D97-AF65-F5344CB8AC3E}">
        <p14:creationId xmlns:p14="http://schemas.microsoft.com/office/powerpoint/2010/main" val="1109789538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. White one third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9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6"/>
          <a:stretch>
            <a:fillRect/>
          </a:stretch>
        </p:blipFill>
        <p:spPr>
          <a:xfrm rot="10800000" flipH="1">
            <a:off x="3971839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113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31" name="Rectangle 23"/>
          <p:cNvSpPr/>
          <p:nvPr/>
        </p:nvSpPr>
        <p:spPr>
          <a:xfrm>
            <a:off x="-1" y="0"/>
            <a:ext cx="3986021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600" rIns="45600"/>
          <a:lstStyle/>
          <a:p>
            <a:pPr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113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4" y="2626488"/>
            <a:ext cx="3056201" cy="1465325"/>
          </a:xfrm>
          <a:prstGeom prst="rect">
            <a:avLst/>
          </a:prstGeom>
        </p:spPr>
        <p:txBody>
          <a:bodyPr/>
          <a:lstStyle>
            <a:lvl1pPr>
              <a:defRPr sz="2294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80587220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theme" Target="../theme/theme1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image" Target="../media/image1.png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43145" y="6287138"/>
            <a:ext cx="141065" cy="138179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>
            <a:spAutoFit/>
          </a:bodyPr>
          <a:lstStyle>
            <a:lvl1pPr algn="r" defTabSz="891157">
              <a:defRPr sz="898">
                <a:solidFill>
                  <a:srgbClr val="80808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" name="Rectangle 7"/>
          <p:cNvSpPr/>
          <p:nvPr/>
        </p:nvSpPr>
        <p:spPr>
          <a:xfrm>
            <a:off x="0" y="-1"/>
            <a:ext cx="11912600" cy="1132160"/>
          </a:xfrm>
          <a:prstGeom prst="rect">
            <a:avLst/>
          </a:prstGeom>
          <a:solidFill>
            <a:schemeClr val="accent2">
              <a:lumOff val="21764"/>
            </a:schemeClr>
          </a:solidFill>
          <a:ln cap="rnd">
            <a:solidFill>
              <a:schemeClr val="accent2">
                <a:lumOff val="21764"/>
              </a:schemeClr>
            </a:solidFill>
          </a:ln>
        </p:spPr>
        <p:txBody>
          <a:bodyPr lIns="45600" rIns="45600" anchor="ctr"/>
          <a:lstStyle/>
          <a:p>
            <a:pPr algn="ctr">
              <a:defRPr sz="1100">
                <a:solidFill>
                  <a:srgbClr val="FFFFFF"/>
                </a:solidFill>
              </a:defRPr>
            </a:pPr>
            <a:endParaRPr sz="1097"/>
          </a:p>
        </p:txBody>
      </p:sp>
      <p:sp>
        <p:nvSpPr>
          <p:cNvPr id="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4" y="335426"/>
            <a:ext cx="10694317" cy="461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r>
              <a:t>Текст заголовка</a:t>
            </a:r>
          </a:p>
        </p:txBody>
      </p:sp>
      <p:pic>
        <p:nvPicPr>
          <p:cNvPr id="5" name="Picture 8" descr="Picture 8"/>
          <p:cNvPicPr>
            <a:picLocks noChangeAspect="1"/>
          </p:cNvPicPr>
          <p:nvPr/>
        </p:nvPicPr>
        <p:blipFill>
          <a:blip r:embed="rId135">
            <a:extLst/>
          </a:blip>
          <a:srcRect t="571" r="65" b="32594"/>
          <a:stretch>
            <a:fillRect/>
          </a:stretch>
        </p:blipFill>
        <p:spPr>
          <a:xfrm>
            <a:off x="11106842" y="107034"/>
            <a:ext cx="713968" cy="922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2" y="0"/>
                  <a:pt x="34" y="1230"/>
                  <a:pt x="0" y="2751"/>
                </a:cubicBezTo>
                <a:lnTo>
                  <a:pt x="0" y="18849"/>
                </a:lnTo>
                <a:cubicBezTo>
                  <a:pt x="34" y="20370"/>
                  <a:pt x="1622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7"/>
                  <a:pt x="21600" y="18802"/>
                </a:cubicBezTo>
                <a:lnTo>
                  <a:pt x="21600" y="2798"/>
                </a:lnTo>
                <a:cubicBezTo>
                  <a:pt x="21600" y="1253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6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595631" y="1567604"/>
            <a:ext cx="10721341" cy="51506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592856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  <p:sldLayoutId id="2147483805" r:id="rId19"/>
    <p:sldLayoutId id="2147483806" r:id="rId20"/>
    <p:sldLayoutId id="2147483807" r:id="rId21"/>
    <p:sldLayoutId id="2147483808" r:id="rId22"/>
    <p:sldLayoutId id="2147483809" r:id="rId23"/>
    <p:sldLayoutId id="2147483810" r:id="rId24"/>
    <p:sldLayoutId id="2147483811" r:id="rId25"/>
    <p:sldLayoutId id="2147483812" r:id="rId26"/>
    <p:sldLayoutId id="2147483813" r:id="rId27"/>
    <p:sldLayoutId id="2147483814" r:id="rId28"/>
    <p:sldLayoutId id="2147483815" r:id="rId29"/>
    <p:sldLayoutId id="2147483816" r:id="rId30"/>
    <p:sldLayoutId id="2147483817" r:id="rId31"/>
    <p:sldLayoutId id="2147483818" r:id="rId32"/>
    <p:sldLayoutId id="2147483819" r:id="rId33"/>
    <p:sldLayoutId id="2147483820" r:id="rId34"/>
    <p:sldLayoutId id="2147483821" r:id="rId35"/>
    <p:sldLayoutId id="2147483822" r:id="rId36"/>
    <p:sldLayoutId id="2147483823" r:id="rId37"/>
    <p:sldLayoutId id="2147483824" r:id="rId38"/>
    <p:sldLayoutId id="2147483825" r:id="rId39"/>
    <p:sldLayoutId id="2147483826" r:id="rId40"/>
    <p:sldLayoutId id="2147483827" r:id="rId41"/>
    <p:sldLayoutId id="2147483828" r:id="rId42"/>
    <p:sldLayoutId id="2147483829" r:id="rId43"/>
    <p:sldLayoutId id="2147483830" r:id="rId44"/>
    <p:sldLayoutId id="2147483831" r:id="rId45"/>
    <p:sldLayoutId id="2147483832" r:id="rId46"/>
    <p:sldLayoutId id="2147483833" r:id="rId47"/>
    <p:sldLayoutId id="2147483834" r:id="rId48"/>
    <p:sldLayoutId id="2147483835" r:id="rId49"/>
    <p:sldLayoutId id="2147483836" r:id="rId50"/>
    <p:sldLayoutId id="2147483837" r:id="rId51"/>
    <p:sldLayoutId id="2147483838" r:id="rId52"/>
    <p:sldLayoutId id="2147483839" r:id="rId53"/>
    <p:sldLayoutId id="2147483840" r:id="rId54"/>
    <p:sldLayoutId id="2147483841" r:id="rId55"/>
    <p:sldLayoutId id="2147483842" r:id="rId56"/>
    <p:sldLayoutId id="2147483843" r:id="rId57"/>
    <p:sldLayoutId id="2147483844" r:id="rId58"/>
    <p:sldLayoutId id="2147483845" r:id="rId59"/>
    <p:sldLayoutId id="2147483846" r:id="rId60"/>
    <p:sldLayoutId id="2147483847" r:id="rId61"/>
    <p:sldLayoutId id="2147483848" r:id="rId62"/>
    <p:sldLayoutId id="2147483849" r:id="rId63"/>
    <p:sldLayoutId id="2147483850" r:id="rId64"/>
    <p:sldLayoutId id="2147483851" r:id="rId65"/>
    <p:sldLayoutId id="2147483852" r:id="rId66"/>
    <p:sldLayoutId id="2147483853" r:id="rId67"/>
    <p:sldLayoutId id="2147483854" r:id="rId68"/>
    <p:sldLayoutId id="2147483855" r:id="rId69"/>
    <p:sldLayoutId id="2147483856" r:id="rId70"/>
    <p:sldLayoutId id="2147483857" r:id="rId71"/>
    <p:sldLayoutId id="2147483858" r:id="rId72"/>
    <p:sldLayoutId id="2147483859" r:id="rId73"/>
    <p:sldLayoutId id="2147483860" r:id="rId74"/>
    <p:sldLayoutId id="2147483861" r:id="rId75"/>
    <p:sldLayoutId id="2147483862" r:id="rId76"/>
    <p:sldLayoutId id="2147483863" r:id="rId77"/>
    <p:sldLayoutId id="2147483864" r:id="rId78"/>
    <p:sldLayoutId id="2147483865" r:id="rId79"/>
    <p:sldLayoutId id="2147483866" r:id="rId80"/>
    <p:sldLayoutId id="2147483867" r:id="rId81"/>
    <p:sldLayoutId id="2147483868" r:id="rId82"/>
    <p:sldLayoutId id="2147483869" r:id="rId83"/>
    <p:sldLayoutId id="2147483870" r:id="rId84"/>
    <p:sldLayoutId id="2147483871" r:id="rId85"/>
    <p:sldLayoutId id="2147483872" r:id="rId86"/>
    <p:sldLayoutId id="2147483873" r:id="rId87"/>
    <p:sldLayoutId id="2147483874" r:id="rId88"/>
    <p:sldLayoutId id="2147483875" r:id="rId89"/>
    <p:sldLayoutId id="2147483876" r:id="rId90"/>
    <p:sldLayoutId id="2147483877" r:id="rId91"/>
    <p:sldLayoutId id="2147483878" r:id="rId92"/>
    <p:sldLayoutId id="2147483879" r:id="rId93"/>
    <p:sldLayoutId id="2147483880" r:id="rId94"/>
    <p:sldLayoutId id="2147483881" r:id="rId95"/>
    <p:sldLayoutId id="2147483882" r:id="rId96"/>
    <p:sldLayoutId id="2147483883" r:id="rId97"/>
    <p:sldLayoutId id="2147483884" r:id="rId98"/>
    <p:sldLayoutId id="2147483885" r:id="rId99"/>
    <p:sldLayoutId id="2147483886" r:id="rId100"/>
    <p:sldLayoutId id="2147483887" r:id="rId101"/>
    <p:sldLayoutId id="2147483888" r:id="rId102"/>
    <p:sldLayoutId id="2147483889" r:id="rId103"/>
    <p:sldLayoutId id="2147483890" r:id="rId104"/>
    <p:sldLayoutId id="2147483891" r:id="rId105"/>
    <p:sldLayoutId id="2147483892" r:id="rId106"/>
    <p:sldLayoutId id="2147483893" r:id="rId107"/>
    <p:sldLayoutId id="2147483894" r:id="rId108"/>
    <p:sldLayoutId id="2147483895" r:id="rId109"/>
    <p:sldLayoutId id="2147483896" r:id="rId110"/>
    <p:sldLayoutId id="2147483897" r:id="rId111"/>
    <p:sldLayoutId id="2147483898" r:id="rId112"/>
    <p:sldLayoutId id="2147483899" r:id="rId113"/>
    <p:sldLayoutId id="2147483900" r:id="rId114"/>
    <p:sldLayoutId id="2147483901" r:id="rId115"/>
    <p:sldLayoutId id="2147483902" r:id="rId116"/>
    <p:sldLayoutId id="2147483903" r:id="rId117"/>
    <p:sldLayoutId id="2147483904" r:id="rId118"/>
    <p:sldLayoutId id="2147483905" r:id="rId119"/>
    <p:sldLayoutId id="2147483906" r:id="rId120"/>
    <p:sldLayoutId id="2147483907" r:id="rId121"/>
    <p:sldLayoutId id="2147483908" r:id="rId122"/>
    <p:sldLayoutId id="2147483909" r:id="rId123"/>
    <p:sldLayoutId id="2147483910" r:id="rId124"/>
    <p:sldLayoutId id="2147483911" r:id="rId125"/>
    <p:sldLayoutId id="2147483912" r:id="rId126"/>
    <p:sldLayoutId id="2147483913" r:id="rId127"/>
    <p:sldLayoutId id="2147483914" r:id="rId128"/>
    <p:sldLayoutId id="2147483915" r:id="rId129"/>
    <p:sldLayoutId id="2147483916" r:id="rId130"/>
    <p:sldLayoutId id="2147483917" r:id="rId131"/>
    <p:sldLayoutId id="2147483918" r:id="rId132"/>
    <p:sldLayoutId id="2147483919" r:id="rId133"/>
  </p:sldLayoutIdLst>
  <p:transition spd="med"/>
  <p:txStyles>
    <p:titleStyle>
      <a:lvl1pPr marL="0" marR="0" indent="0" algn="l" defTabSz="89115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92" b="0" i="0" u="none" strike="noStrike" cap="none" spc="0" baseline="0">
          <a:ln>
            <a:noFill/>
          </a:ln>
          <a:solidFill>
            <a:srgbClr val="FFFFFF"/>
          </a:solidFill>
          <a:uFillTx/>
          <a:latin typeface="PT Sans Caption"/>
          <a:ea typeface="PT Sans Caption"/>
          <a:cs typeface="PT Sans Caption"/>
          <a:sym typeface="PT Sans Caption"/>
        </a:defRPr>
      </a:lvl1pPr>
      <a:lvl2pPr marL="0" marR="0" indent="0" algn="l" defTabSz="89115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92" b="0" i="0" u="none" strike="noStrike" cap="none" spc="0" baseline="0">
          <a:ln>
            <a:noFill/>
          </a:ln>
          <a:solidFill>
            <a:srgbClr val="FFFFFF"/>
          </a:solidFill>
          <a:uFillTx/>
          <a:latin typeface="PT Sans Caption"/>
          <a:ea typeface="PT Sans Caption"/>
          <a:cs typeface="PT Sans Caption"/>
          <a:sym typeface="PT Sans Caption"/>
        </a:defRPr>
      </a:lvl2pPr>
      <a:lvl3pPr marL="0" marR="0" indent="0" algn="l" defTabSz="89115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92" b="0" i="0" u="none" strike="noStrike" cap="none" spc="0" baseline="0">
          <a:ln>
            <a:noFill/>
          </a:ln>
          <a:solidFill>
            <a:srgbClr val="FFFFFF"/>
          </a:solidFill>
          <a:uFillTx/>
          <a:latin typeface="PT Sans Caption"/>
          <a:ea typeface="PT Sans Caption"/>
          <a:cs typeface="PT Sans Caption"/>
          <a:sym typeface="PT Sans Caption"/>
        </a:defRPr>
      </a:lvl3pPr>
      <a:lvl4pPr marL="0" marR="0" indent="0" algn="l" defTabSz="89115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92" b="0" i="0" u="none" strike="noStrike" cap="none" spc="0" baseline="0">
          <a:ln>
            <a:noFill/>
          </a:ln>
          <a:solidFill>
            <a:srgbClr val="FFFFFF"/>
          </a:solidFill>
          <a:uFillTx/>
          <a:latin typeface="PT Sans Caption"/>
          <a:ea typeface="PT Sans Caption"/>
          <a:cs typeface="PT Sans Caption"/>
          <a:sym typeface="PT Sans Caption"/>
        </a:defRPr>
      </a:lvl4pPr>
      <a:lvl5pPr marL="0" marR="0" indent="0" algn="l" defTabSz="89115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92" b="0" i="0" u="none" strike="noStrike" cap="none" spc="0" baseline="0">
          <a:ln>
            <a:noFill/>
          </a:ln>
          <a:solidFill>
            <a:srgbClr val="FFFFFF"/>
          </a:solidFill>
          <a:uFillTx/>
          <a:latin typeface="PT Sans Caption"/>
          <a:ea typeface="PT Sans Caption"/>
          <a:cs typeface="PT Sans Caption"/>
          <a:sym typeface="PT Sans Caption"/>
        </a:defRPr>
      </a:lvl5pPr>
      <a:lvl6pPr marL="0" marR="0" indent="0" algn="l" defTabSz="89115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92" b="0" i="0" u="none" strike="noStrike" cap="none" spc="0" baseline="0">
          <a:ln>
            <a:noFill/>
          </a:ln>
          <a:solidFill>
            <a:srgbClr val="FFFFFF"/>
          </a:solidFill>
          <a:uFillTx/>
          <a:latin typeface="PT Sans Caption"/>
          <a:ea typeface="PT Sans Caption"/>
          <a:cs typeface="PT Sans Caption"/>
          <a:sym typeface="PT Sans Caption"/>
        </a:defRPr>
      </a:lvl6pPr>
      <a:lvl7pPr marL="0" marR="0" indent="0" algn="l" defTabSz="89115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92" b="0" i="0" u="none" strike="noStrike" cap="none" spc="0" baseline="0">
          <a:ln>
            <a:noFill/>
          </a:ln>
          <a:solidFill>
            <a:srgbClr val="FFFFFF"/>
          </a:solidFill>
          <a:uFillTx/>
          <a:latin typeface="PT Sans Caption"/>
          <a:ea typeface="PT Sans Caption"/>
          <a:cs typeface="PT Sans Caption"/>
          <a:sym typeface="PT Sans Caption"/>
        </a:defRPr>
      </a:lvl7pPr>
      <a:lvl8pPr marL="0" marR="0" indent="0" algn="l" defTabSz="89115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92" b="0" i="0" u="none" strike="noStrike" cap="none" spc="0" baseline="0">
          <a:ln>
            <a:noFill/>
          </a:ln>
          <a:solidFill>
            <a:srgbClr val="FFFFFF"/>
          </a:solidFill>
          <a:uFillTx/>
          <a:latin typeface="PT Sans Caption"/>
          <a:ea typeface="PT Sans Caption"/>
          <a:cs typeface="PT Sans Caption"/>
          <a:sym typeface="PT Sans Caption"/>
        </a:defRPr>
      </a:lvl8pPr>
      <a:lvl9pPr marL="0" marR="0" indent="0" algn="l" defTabSz="89115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92" b="0" i="0" u="none" strike="noStrike" cap="none" spc="0" baseline="0">
          <a:ln>
            <a:noFill/>
          </a:ln>
          <a:solidFill>
            <a:srgbClr val="FFFFFF"/>
          </a:solidFill>
          <a:uFillTx/>
          <a:latin typeface="PT Sans Caption"/>
          <a:ea typeface="PT Sans Caption"/>
          <a:cs typeface="PT Sans Caption"/>
          <a:sym typeface="PT Sans Caption"/>
        </a:defRPr>
      </a:lvl9pPr>
    </p:titleStyle>
    <p:bodyStyle>
      <a:lvl1pPr marL="0" marR="0" indent="0" algn="l" defTabSz="891157" rtl="0" latinLnBrk="0">
        <a:lnSpc>
          <a:spcPct val="110000"/>
        </a:lnSpc>
        <a:spcBef>
          <a:spcPts val="498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097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PT Sans Caption"/>
          <a:ea typeface="PT Sans Caption"/>
          <a:cs typeface="PT Sans Caption"/>
          <a:sym typeface="PT Sans Caption"/>
        </a:defRPr>
      </a:lvl1pPr>
      <a:lvl2pPr marL="277171" marR="0" indent="-168408" algn="l" defTabSz="891157" rtl="0" latinLnBrk="0">
        <a:lnSpc>
          <a:spcPct val="110000"/>
        </a:lnSpc>
        <a:spcBef>
          <a:spcPts val="498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•"/>
        <a:tabLst/>
        <a:defRPr sz="1097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PT Sans Caption"/>
          <a:ea typeface="PT Sans Caption"/>
          <a:cs typeface="PT Sans Caption"/>
          <a:sym typeface="PT Sans Caption"/>
        </a:defRPr>
      </a:lvl2pPr>
      <a:lvl3pPr marL="498206" marR="0" indent="-161392" algn="l" defTabSz="891157" rtl="0" latinLnBrk="0">
        <a:lnSpc>
          <a:spcPct val="110000"/>
        </a:lnSpc>
        <a:spcBef>
          <a:spcPts val="498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–"/>
        <a:tabLst/>
        <a:defRPr sz="1097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PT Sans Caption"/>
          <a:ea typeface="PT Sans Caption"/>
          <a:cs typeface="PT Sans Caption"/>
          <a:sym typeface="PT Sans Caption"/>
        </a:defRPr>
      </a:lvl3pPr>
      <a:lvl4pPr marL="0" marR="0" indent="0" algn="l" defTabSz="891157" rtl="0" latinLnBrk="0">
        <a:lnSpc>
          <a:spcPct val="110000"/>
        </a:lnSpc>
        <a:spcBef>
          <a:spcPts val="498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097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PT Sans Caption"/>
          <a:ea typeface="PT Sans Caption"/>
          <a:cs typeface="PT Sans Caption"/>
          <a:sym typeface="PT Sans Caption"/>
        </a:defRPr>
      </a:lvl4pPr>
      <a:lvl5pPr marL="0" marR="0" indent="0" algn="l" defTabSz="891157" rtl="0" latinLnBrk="0">
        <a:lnSpc>
          <a:spcPct val="110000"/>
        </a:lnSpc>
        <a:spcBef>
          <a:spcPts val="498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097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PT Sans Caption"/>
          <a:ea typeface="PT Sans Caption"/>
          <a:cs typeface="PT Sans Caption"/>
          <a:sym typeface="PT Sans Caption"/>
        </a:defRPr>
      </a:lvl5pPr>
      <a:lvl6pPr marL="223408" marR="0" indent="-108918" algn="l" defTabSz="891157" rtl="0" latinLnBrk="0">
        <a:lnSpc>
          <a:spcPct val="110000"/>
        </a:lnSpc>
        <a:spcBef>
          <a:spcPts val="498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•"/>
        <a:tabLst/>
        <a:defRPr sz="1097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PT Sans Caption"/>
          <a:ea typeface="PT Sans Caption"/>
          <a:cs typeface="PT Sans Caption"/>
          <a:sym typeface="PT Sans Caption"/>
        </a:defRPr>
      </a:lvl6pPr>
      <a:lvl7pPr marL="0" marR="0" indent="0" algn="l" defTabSz="891157" rtl="0" latinLnBrk="0">
        <a:lnSpc>
          <a:spcPct val="110000"/>
        </a:lnSpc>
        <a:spcBef>
          <a:spcPts val="498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097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PT Sans Caption"/>
          <a:ea typeface="PT Sans Caption"/>
          <a:cs typeface="PT Sans Caption"/>
          <a:sym typeface="PT Sans Caption"/>
        </a:defRPr>
      </a:lvl7pPr>
      <a:lvl8pPr marL="0" marR="0" indent="0" algn="l" defTabSz="891157" rtl="0" latinLnBrk="0">
        <a:lnSpc>
          <a:spcPct val="110000"/>
        </a:lnSpc>
        <a:spcBef>
          <a:spcPts val="498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097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PT Sans Caption"/>
          <a:ea typeface="PT Sans Caption"/>
          <a:cs typeface="PT Sans Caption"/>
          <a:sym typeface="PT Sans Caption"/>
        </a:defRPr>
      </a:lvl8pPr>
      <a:lvl9pPr marL="0" marR="0" indent="0" algn="l" defTabSz="891157" rtl="0" latinLnBrk="0">
        <a:lnSpc>
          <a:spcPct val="110000"/>
        </a:lnSpc>
        <a:spcBef>
          <a:spcPts val="498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097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PT Sans Caption"/>
          <a:ea typeface="PT Sans Caption"/>
          <a:cs typeface="PT Sans Caption"/>
          <a:sym typeface="PT Sans Caption"/>
        </a:defRPr>
      </a:lvl9pPr>
    </p:bodyStyle>
    <p:otherStyle>
      <a:lvl1pPr marL="0" marR="0" indent="0" algn="r" defTabSz="89115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1pPr>
      <a:lvl2pPr marL="0" marR="0" indent="0" algn="r" defTabSz="89115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2pPr>
      <a:lvl3pPr marL="0" marR="0" indent="0" algn="r" defTabSz="89115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3pPr>
      <a:lvl4pPr marL="0" marR="0" indent="0" algn="r" defTabSz="89115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4pPr>
      <a:lvl5pPr marL="0" marR="0" indent="0" algn="r" defTabSz="89115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5pPr>
      <a:lvl6pPr marL="0" marR="0" indent="0" algn="r" defTabSz="89115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6pPr>
      <a:lvl7pPr marL="0" marR="0" indent="0" algn="r" defTabSz="89115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7pPr>
      <a:lvl8pPr marL="0" marR="0" indent="0" algn="r" defTabSz="89115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8pPr>
      <a:lvl9pPr marL="0" marR="0" indent="0" algn="r" defTabSz="89115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98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.xlsx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1.xlsx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8" name="Title 3"/>
          <p:cNvSpPr txBox="1">
            <a:spLocks noGrp="1"/>
          </p:cNvSpPr>
          <p:nvPr>
            <p:ph type="title"/>
          </p:nvPr>
        </p:nvSpPr>
        <p:spPr>
          <a:xfrm>
            <a:off x="2867851" y="2290015"/>
            <a:ext cx="8277379" cy="2389702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defTabSz="677280">
              <a:defRPr sz="2888"/>
            </a:pPr>
            <a:br>
              <a:rPr dirty="0"/>
            </a:br>
            <a:r>
              <a:rPr lang="ru-RU" dirty="0"/>
              <a:t>Национальный </a:t>
            </a:r>
            <a:r>
              <a:rPr lang="ru-RU" dirty="0" err="1"/>
              <a:t>Каталог_дорожная</a:t>
            </a:r>
            <a:r>
              <a:rPr lang="ru-RU" dirty="0"/>
              <a:t> карта </a:t>
            </a:r>
            <a:br>
              <a:rPr lang="ru-RU" dirty="0"/>
            </a:br>
            <a:br>
              <a:rPr dirty="0"/>
            </a:br>
            <a:endParaRPr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A242C06-62ED-4D60-BD63-68EA46DFE6B7}"/>
              </a:ext>
            </a:extLst>
          </p:cNvPr>
          <p:cNvSpPr txBox="1"/>
          <p:nvPr/>
        </p:nvSpPr>
        <p:spPr>
          <a:xfrm>
            <a:off x="9866086" y="5877217"/>
            <a:ext cx="2046514" cy="446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119356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>
                <a:solidFill>
                  <a:schemeClr val="bg1"/>
                </a:solidFill>
              </a:rPr>
              <a:t>04</a:t>
            </a:r>
            <a:r>
              <a:rPr kumimoji="0" lang="ru-RU" sz="23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PT Sans Caption"/>
                <a:ea typeface="PT Sans Caption"/>
                <a:cs typeface="PT Sans Caption"/>
                <a:sym typeface="PT Sans Caption"/>
              </a:rPr>
              <a:t>.04.2019</a:t>
            </a:r>
          </a:p>
        </p:txBody>
      </p:sp>
    </p:spTree>
    <p:extLst>
      <p:ext uri="{BB962C8B-B14F-4D97-AF65-F5344CB8AC3E}">
        <p14:creationId xmlns:p14="http://schemas.microsoft.com/office/powerpoint/2010/main" val="2341063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031" y="18988"/>
          <a:ext cx="1547" cy="15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8" name="Object 3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031" y="18988"/>
                        <a:ext cx="1547" cy="15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093049" y="117347"/>
            <a:ext cx="712590" cy="917588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50" name="Title 1">
            <a:extLst>
              <a:ext uri="{FF2B5EF4-FFF2-40B4-BE49-F238E27FC236}">
                <a16:creationId xmlns:a16="http://schemas.microsoft.com/office/drawing/2014/main" id="{F65F9DAE-B3A2-D04A-81FD-2FF6EF861AB3}"/>
              </a:ext>
            </a:extLst>
          </p:cNvPr>
          <p:cNvSpPr txBox="1">
            <a:spLocks/>
          </p:cNvSpPr>
          <p:nvPr/>
        </p:nvSpPr>
        <p:spPr>
          <a:xfrm>
            <a:off x="307249" y="437641"/>
            <a:ext cx="1065782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893460"/>
            <a:r>
              <a:rPr lang="ru-RU" sz="2000" dirty="0"/>
              <a:t>Дорожная карта Национального каталога на 2019 год</a:t>
            </a:r>
            <a:endParaRPr lang="bg-BG" sz="1949" b="1" dirty="0">
              <a:solidFill>
                <a:srgbClr val="F2F2F2"/>
              </a:solidFill>
              <a:cs typeface="Helvetica"/>
            </a:endParaRPr>
          </a:p>
        </p:txBody>
      </p:sp>
      <p:graphicFrame>
        <p:nvGraphicFramePr>
          <p:cNvPr id="5" name="Объект 16">
            <a:extLst>
              <a:ext uri="{FF2B5EF4-FFF2-40B4-BE49-F238E27FC236}">
                <a16:creationId xmlns:a16="http://schemas.microsoft.com/office/drawing/2014/main" id="{08C3359A-2ACD-4D34-8EDF-084036BE683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1903855"/>
              </p:ext>
            </p:extLst>
          </p:nvPr>
        </p:nvGraphicFramePr>
        <p:xfrm>
          <a:off x="584551" y="1227092"/>
          <a:ext cx="10380526" cy="5407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8" name="Worksheet" r:id="rId8" imgW="10248744" imgH="5439017" progId="Excel.Sheet.12">
                  <p:embed/>
                </p:oleObj>
              </mc:Choice>
              <mc:Fallback>
                <p:oleObj name="Worksheet" r:id="rId8" imgW="10248744" imgH="5439017" progId="Excel.Sheet.12">
                  <p:embed/>
                  <p:pic>
                    <p:nvPicPr>
                      <p:cNvPr id="17" name="Объект 16">
                        <a:extLst>
                          <a:ext uri="{FF2B5EF4-FFF2-40B4-BE49-F238E27FC236}">
                            <a16:creationId xmlns:a16="http://schemas.microsoft.com/office/drawing/2014/main" id="{F8544925-8F6A-4BAA-83CD-220EEF59F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84551" y="1227092"/>
                        <a:ext cx="10380526" cy="5407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364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031" y="18988"/>
          <a:ext cx="1547" cy="15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8" name="Object 3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031" y="18988"/>
                        <a:ext cx="1547" cy="15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093049" y="117347"/>
            <a:ext cx="712590" cy="917588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50" name="Title 1">
            <a:extLst>
              <a:ext uri="{FF2B5EF4-FFF2-40B4-BE49-F238E27FC236}">
                <a16:creationId xmlns:a16="http://schemas.microsoft.com/office/drawing/2014/main" id="{F65F9DAE-B3A2-D04A-81FD-2FF6EF861AB3}"/>
              </a:ext>
            </a:extLst>
          </p:cNvPr>
          <p:cNvSpPr txBox="1">
            <a:spLocks/>
          </p:cNvSpPr>
          <p:nvPr/>
        </p:nvSpPr>
        <p:spPr>
          <a:xfrm>
            <a:off x="307249" y="437641"/>
            <a:ext cx="1065782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893460"/>
            <a:r>
              <a:rPr lang="ru-RU" sz="2000" dirty="0"/>
              <a:t>Дорожная карта Национального каталога на 2019 </a:t>
            </a:r>
            <a:r>
              <a:rPr lang="ru-RU" sz="2000" dirty="0" err="1"/>
              <a:t>год_часть</a:t>
            </a:r>
            <a:r>
              <a:rPr lang="ru-RU" sz="2000" dirty="0"/>
              <a:t> 2</a:t>
            </a:r>
            <a:endParaRPr lang="bg-BG" sz="1949" b="1" dirty="0">
              <a:solidFill>
                <a:srgbClr val="F2F2F2"/>
              </a:solidFill>
              <a:cs typeface="Helvetica"/>
            </a:endParaRPr>
          </a:p>
        </p:txBody>
      </p:sp>
      <p:graphicFrame>
        <p:nvGraphicFramePr>
          <p:cNvPr id="5" name="Объект 2">
            <a:extLst>
              <a:ext uri="{FF2B5EF4-FFF2-40B4-BE49-F238E27FC236}">
                <a16:creationId xmlns:a16="http://schemas.microsoft.com/office/drawing/2014/main" id="{4B794013-8E3C-42F7-9C53-B41154A990D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1168827"/>
              </p:ext>
            </p:extLst>
          </p:nvPr>
        </p:nvGraphicFramePr>
        <p:xfrm>
          <a:off x="320984" y="1271451"/>
          <a:ext cx="11251220" cy="52651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8" name="Worksheet" r:id="rId8" imgW="12601303" imgH="6048133" progId="Excel.Sheet.12">
                  <p:embed/>
                </p:oleObj>
              </mc:Choice>
              <mc:Fallback>
                <p:oleObj name="Worksheet" r:id="rId8" imgW="12601303" imgH="6048133" progId="Excel.Sheet.12">
                  <p:embed/>
                  <p:pic>
                    <p:nvPicPr>
                      <p:cNvPr id="3" name="Объект 2">
                        <a:extLst>
                          <a:ext uri="{FF2B5EF4-FFF2-40B4-BE49-F238E27FC236}">
                            <a16:creationId xmlns:a16="http://schemas.microsoft.com/office/drawing/2014/main" id="{B1831C52-AF12-421C-A7DC-5BD00893C9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20984" y="1271451"/>
                        <a:ext cx="11251220" cy="52651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2918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BCG Grid 16:9">
  <a:themeElements>
    <a:clrScheme name="2_BCG Grid 16:9">
      <a:dk1>
        <a:srgbClr val="595959"/>
      </a:dk1>
      <a:lt1>
        <a:srgbClr val="F2F2F2"/>
      </a:lt1>
      <a:dk2>
        <a:srgbClr val="A7A7A7"/>
      </a:dk2>
      <a:lt2>
        <a:srgbClr val="535353"/>
      </a:lt2>
      <a:accent1>
        <a:srgbClr val="FFAB40"/>
      </a:accent1>
      <a:accent2>
        <a:srgbClr val="212121"/>
      </a:accent2>
      <a:accent3>
        <a:srgbClr val="78909C"/>
      </a:accent3>
      <a:accent4>
        <a:srgbClr val="8F6024"/>
      </a:accent4>
      <a:accent5>
        <a:srgbClr val="0097A7"/>
      </a:accent5>
      <a:accent6>
        <a:srgbClr val="EEFF41"/>
      </a:accent6>
      <a:hlink>
        <a:srgbClr val="0000FF"/>
      </a:hlink>
      <a:folHlink>
        <a:srgbClr val="FF00FF"/>
      </a:folHlink>
    </a:clrScheme>
    <a:fontScheme name="2_BCG Grid 16:9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2_BCG Grid 16:9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079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19356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300" b="0" i="0" u="none" strike="noStrike" cap="none" spc="0" normalizeH="0" baseline="0">
            <a:ln>
              <a:noFill/>
            </a:ln>
            <a:solidFill>
              <a:schemeClr val="accent2">
                <a:lumOff val="21764"/>
              </a:schemeClr>
            </a:solidFill>
            <a:effectLst/>
            <a:uFillTx/>
            <a:latin typeface="PT Sans Caption"/>
            <a:ea typeface="PT Sans Caption"/>
            <a:cs typeface="PT Sans Caption"/>
            <a:sym typeface="PT Sans Captio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079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19356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300" b="0" i="0" u="none" strike="noStrike" cap="none" spc="0" normalizeH="0" baseline="0">
            <a:ln>
              <a:noFill/>
            </a:ln>
            <a:solidFill>
              <a:schemeClr val="accent2">
                <a:lumOff val="21764"/>
              </a:schemeClr>
            </a:solidFill>
            <a:effectLst/>
            <a:uFillTx/>
            <a:latin typeface="PT Sans Caption"/>
            <a:ea typeface="PT Sans Caption"/>
            <a:cs typeface="PT Sans Caption"/>
            <a:sym typeface="PT Sans Captio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BCG Grid 16:9">
  <a:themeElements>
    <a:clrScheme name="2_BCG Grid 16:9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FAB40"/>
      </a:accent1>
      <a:accent2>
        <a:srgbClr val="212121"/>
      </a:accent2>
      <a:accent3>
        <a:srgbClr val="78909C"/>
      </a:accent3>
      <a:accent4>
        <a:srgbClr val="8F6024"/>
      </a:accent4>
      <a:accent5>
        <a:srgbClr val="0097A7"/>
      </a:accent5>
      <a:accent6>
        <a:srgbClr val="EEFF41"/>
      </a:accent6>
      <a:hlink>
        <a:srgbClr val="0000FF"/>
      </a:hlink>
      <a:folHlink>
        <a:srgbClr val="FF00FF"/>
      </a:folHlink>
    </a:clrScheme>
    <a:fontScheme name="2_BCG Grid 16:9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2_BCG Grid 16:9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079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19356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300" b="0" i="0" u="none" strike="noStrike" cap="none" spc="0" normalizeH="0" baseline="0">
            <a:ln>
              <a:noFill/>
            </a:ln>
            <a:solidFill>
              <a:schemeClr val="accent2">
                <a:lumOff val="21764"/>
              </a:schemeClr>
            </a:solidFill>
            <a:effectLst/>
            <a:uFillTx/>
            <a:latin typeface="PT Sans Caption"/>
            <a:ea typeface="PT Sans Caption"/>
            <a:cs typeface="PT Sans Caption"/>
            <a:sym typeface="PT Sans Captio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079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19356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300" b="0" i="0" u="none" strike="noStrike" cap="none" spc="0" normalizeH="0" baseline="0">
            <a:ln>
              <a:noFill/>
            </a:ln>
            <a:solidFill>
              <a:schemeClr val="accent2">
                <a:lumOff val="21764"/>
              </a:schemeClr>
            </a:solidFill>
            <a:effectLst/>
            <a:uFillTx/>
            <a:latin typeface="PT Sans Caption"/>
            <a:ea typeface="PT Sans Caption"/>
            <a:cs typeface="PT Sans Caption"/>
            <a:sym typeface="PT Sans Captio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30</TotalTime>
  <Words>18</Words>
  <Application>Microsoft Office PowerPoint</Application>
  <PresentationFormat>Custom</PresentationFormat>
  <Paragraphs>4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Calibri Light</vt:lpstr>
      <vt:lpstr>Helvetica</vt:lpstr>
      <vt:lpstr>PT Sans Caption</vt:lpstr>
      <vt:lpstr>3_BCG Grid 16:9</vt:lpstr>
      <vt:lpstr>think-cell Slide</vt:lpstr>
      <vt:lpstr>Worksheet</vt:lpstr>
      <vt:lpstr> Национальный Каталог_дорожная карта  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маркировка и прослеживаемость товаров в РФ. Создание экономики доверия</dc:title>
  <dc:creator>Полина Хомякова</dc:creator>
  <cp:lastModifiedBy>Душл Мария</cp:lastModifiedBy>
  <cp:revision>48</cp:revision>
  <dcterms:modified xsi:type="dcterms:W3CDTF">2019-04-04T08:51:09Z</dcterms:modified>
</cp:coreProperties>
</file>